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4"/>
    <p:sldMasterId id="2147483713" r:id="rId5"/>
    <p:sldMasterId id="2147483726" r:id="rId6"/>
    <p:sldMasterId id="2147483748" r:id="rId7"/>
    <p:sldMasterId id="2147483763" r:id="rId8"/>
    <p:sldMasterId id="2147483776" r:id="rId9"/>
    <p:sldMasterId id="2147483795" r:id="rId10"/>
  </p:sldMasterIdLst>
  <p:notesMasterIdLst>
    <p:notesMasterId r:id="rId17"/>
  </p:notesMasterIdLst>
  <p:sldIdLst>
    <p:sldId id="2147483381" r:id="rId11"/>
    <p:sldId id="2147483354" r:id="rId12"/>
    <p:sldId id="2147483360" r:id="rId13"/>
    <p:sldId id="2147483378" r:id="rId14"/>
    <p:sldId id="2147483363" r:id="rId15"/>
    <p:sldId id="2147483379" r:id="rId1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0936907-44DD-F89C-EDA4-90D3944F2887}" name="Vaqais Hussain" initials="VH" userId="S::vaqais.hussain@makersite.de::cf33f842-2e40-4a6b-98fa-ee313ea8e661" providerId="AD"/>
  <p188:author id="{C646B867-9B39-330D-52E8-6D2E753BFC73}" name="Andrej Sokoll" initials="" userId="S::andrej.sokoll@makersite.de::df25e1c9-5d71-4081-8cd1-ad702825c42c" providerId="AD"/>
  <p188:author id="{147A619D-AD79-F433-9F8F-9BF49FD6AA6E}" name="Matthew Darvell-Wright" initials="MD" userId="S::darvell-wright@bryter.io::68aab61f-8a73-45d3-bd37-462b08e1b8da" providerId="AD"/>
  <p188:author id="{46E75FA0-31DB-73ED-91C2-8F8A336538A9}" name="Neil D'Souza" initials="" userId="S::neil.dsouza@makersite.de::b90f3a16-86b8-408e-8a10-9e36070ddf2c" providerId="AD"/>
  <p188:author id="{4C3C6DD1-DE5E-9BCC-C9F9-12BE9A9B5DA8}" name="Sam Trammel" initials="ST" userId="S::sam.trammel@makersite.de::8e022c98-7785-47c9-b437-39e0f0421005" providerId="AD"/>
  <p188:author id="{8CA115D3-E04D-7F38-E7CB-0613B7C02F6A}" name="Sophie Kieselbach" initials="SK" userId="S::sophie.kieselbach@makersite.de::18fd0eb9-45fa-45e0-ade7-dfbd00507847" providerId="AD"/>
  <p188:author id="{EFB468FA-7848-6283-69D8-8E5DF2739BB4}" name="Nicolas Wetz" initials="NW" userId="S::wetz@bryter.io::5ff19584-6eb1-4431-a331-b29fbfe150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4F"/>
    <a:srgbClr val="2D2A00"/>
    <a:srgbClr val="DA0600"/>
    <a:srgbClr val="C70B00"/>
    <a:srgbClr val="CB4801"/>
    <a:srgbClr val="717680"/>
    <a:srgbClr val="DDE3EB"/>
    <a:srgbClr val="C2EBE6"/>
    <a:srgbClr val="BDA52E"/>
    <a:srgbClr val="3ABF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21" autoAdjust="0"/>
    <p:restoredTop sz="94666"/>
  </p:normalViewPr>
  <p:slideViewPr>
    <p:cSldViewPr snapToGrid="0">
      <p:cViewPr varScale="1">
        <p:scale>
          <a:sx n="150" d="100"/>
          <a:sy n="150" d="100"/>
        </p:scale>
        <p:origin x="360" y="1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10" Type="http://schemas.openxmlformats.org/officeDocument/2006/relationships/slideMaster" Target="slideMasters/slideMaster7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330B32-9837-D94A-8946-C060C851C536}" type="datetimeFigureOut">
              <a:rPr lang="de-DE" smtClean="0"/>
              <a:t>24.02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F10347-2A04-E24C-A009-6E2862DDD6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2579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987793-E476-89A2-4A91-1BEE28741F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>
            <a:extLst>
              <a:ext uri="{FF2B5EF4-FFF2-40B4-BE49-F238E27FC236}">
                <a16:creationId xmlns:a16="http://schemas.microsoft.com/office/drawing/2014/main" id="{81FE6831-F628-B6C2-6111-092100AD7F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>
            <a:extLst>
              <a:ext uri="{FF2B5EF4-FFF2-40B4-BE49-F238E27FC236}">
                <a16:creationId xmlns:a16="http://schemas.microsoft.com/office/drawing/2014/main" id="{C9E83AEB-C39A-2DCE-7950-16C5491373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ransition can also be covered by Makersite, not only at transparency phase - Maybe sales story telling</a:t>
            </a:r>
          </a:p>
          <a:p>
            <a:endParaRPr lang="en-US" dirty="0"/>
          </a:p>
        </p:txBody>
      </p:sp>
      <p:sp>
        <p:nvSpPr>
          <p:cNvPr id="845827" name="Slide Number Placeholder 3">
            <a:extLst>
              <a:ext uri="{FF2B5EF4-FFF2-40B4-BE49-F238E27FC236}">
                <a16:creationId xmlns:a16="http://schemas.microsoft.com/office/drawing/2014/main" id="{A6967CD4-7628-8242-959B-A609429DE3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1908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A5F6B1-7788-5D50-4820-171DFABA69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>
            <a:extLst>
              <a:ext uri="{FF2B5EF4-FFF2-40B4-BE49-F238E27FC236}">
                <a16:creationId xmlns:a16="http://schemas.microsoft.com/office/drawing/2014/main" id="{77292475-0579-AC03-44AD-7F194EABF3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>
            <a:extLst>
              <a:ext uri="{FF2B5EF4-FFF2-40B4-BE49-F238E27FC236}">
                <a16:creationId xmlns:a16="http://schemas.microsoft.com/office/drawing/2014/main" id="{FB7CDFA6-221B-17E5-C264-028C2DCC0C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ransition can also be covered by Makersite, not only at transparency phase - Maybe sales story telling</a:t>
            </a:r>
          </a:p>
          <a:p>
            <a:endParaRPr lang="en-US" dirty="0"/>
          </a:p>
        </p:txBody>
      </p:sp>
      <p:sp>
        <p:nvSpPr>
          <p:cNvPr id="845827" name="Slide Number Placeholder 3">
            <a:extLst>
              <a:ext uri="{FF2B5EF4-FFF2-40B4-BE49-F238E27FC236}">
                <a16:creationId xmlns:a16="http://schemas.microsoft.com/office/drawing/2014/main" id="{E1B37E30-F7E5-AC05-F33B-FD89D08712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54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753331-CB78-5098-353C-8A521F15C4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1DBE05-1092-6CE7-B6A4-A9A12D7836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0EA81F-1BBE-CA3C-9CF5-AD6311EDC7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2C9582-57E5-05FB-CFDA-84449B5D64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645788-9F65-4DA8-8D74-9CCFF3DA8B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459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B91D6-A54D-16F9-AAD8-D3AEEFAB89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E1EDCD-CD1D-9555-13E0-E3BB58CD60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28F8AC-C5E8-9F47-4C62-BFAEF793C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5DA7B3-CFDA-9106-2914-CA45C6CBF5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645788-9F65-4DA8-8D74-9CCFF3DA8B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166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01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D27A9C-4334-737B-DAFB-CF1AFD5BF7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C25BB37-4749-C13C-6766-869C3EBCF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BFF50B-36ED-4D39-7B69-673032CD0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02BED-2381-384D-9859-0B51933C12B0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C885572-8712-F32D-BEBB-2DD18513E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269FF40E-E7CC-0449-9852-6CCAFED2E5C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5923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5B1AAC-E7C4-C2F7-DCA4-CE9DDACED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5120D4-48CA-D74A-9596-AE2075A19A47}" type="datetime1">
              <a:rPr lang="de-DE" smtClean="0"/>
              <a:t>24.02.2026</a:t>
            </a:fld>
            <a:endParaRPr lang="de-DE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1588A292-F59D-DA81-864E-F8E84AB01F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326670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Empt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6D26D4-D406-5977-E851-5A315510C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7CB7C-4D21-604B-A723-7599B63B3302}" type="datetime1">
              <a:rPr lang="de-DE" smtClean="0"/>
              <a:t>24.02.2026</a:t>
            </a:fld>
            <a:endParaRPr lang="de-DE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03C88F31-1CF9-FDBA-9929-0A31A1889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5183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 Section title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6216B1-68E3-ACAE-E78C-E0CE36D86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BEB35-17E8-EC43-96B4-62B9007654B2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DFA3E-B480-E2D1-5682-6BCB6F6F5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A994CAC3-9801-9353-E11E-29435A38C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185497D-366C-B076-A851-B6C2B39D6D0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84885900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6D26D4-D406-5977-E851-5A315510C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16F71-6CBA-4642-9FD7-83412B5647D6}" type="datetime1">
              <a:rPr lang="de-DE" smtClean="0"/>
              <a:t>24.02.2026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B89C85-5B2B-88CA-8F51-A4C4776FF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D876A09A-0CA6-8476-05B6-CA4DCFF831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3113314"/>
            <a:ext cx="10100733" cy="1217844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.</a:t>
            </a:r>
          </a:p>
        </p:txBody>
      </p:sp>
      <p:pic>
        <p:nvPicPr>
          <p:cNvPr id="8" name="Grafik 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3782FF68-0A18-5B03-98EB-69BA5C1322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07716" y="1936748"/>
            <a:ext cx="1176566" cy="1176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8167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Empt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 userDrawn="1"/>
        </p:nvSpPr>
        <p:spPr>
          <a:xfrm>
            <a:off x="6028265" y="0"/>
            <a:ext cx="6163735" cy="6858000"/>
          </a:xfrm>
          <a:prstGeom prst="rect">
            <a:avLst/>
          </a:prstGeom>
          <a:solidFill>
            <a:srgbClr val="003C4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80240-1695-4A4C-B6C0-3EB4702AE39C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51081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Empt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6D26D4-D406-5977-E851-5A315510C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7CB7C-4D21-604B-A723-7599B63B3302}" type="datetime1">
              <a:rPr lang="de-DE" smtClean="0"/>
              <a:t>24.02.2026</a:t>
            </a:fld>
            <a:endParaRPr lang="de-DE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03C88F31-1CF9-FDBA-9929-0A31A1889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00960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3012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6A3D89-EF96-4646-AADE-F898FE28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52109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14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042A7D-BCD5-4516-A2EE-A0100EDF08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838" y="857614"/>
            <a:ext cx="10728324" cy="4079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b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6A3D89-EF96-4646-AADE-F898FE28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64216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37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042A7D-BCD5-4516-A2EE-A0100EDF08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838" y="858366"/>
            <a:ext cx="10728324" cy="4079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27A11FD-E7CA-2E4D-A8B1-67553FE75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562EFCA-46DA-724C-BFF2-70EF931631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802538"/>
            <a:ext cx="5364163" cy="4326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566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64280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783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042A7D-BCD5-4516-A2EE-A0100EDF08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838" y="858366"/>
            <a:ext cx="10728324" cy="4079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27A11FD-E7CA-2E4D-A8B1-67553FE75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562EFCA-46DA-724C-BFF2-70EF931631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802538"/>
            <a:ext cx="5364163" cy="4326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indent="-228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8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81495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4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7215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4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72935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4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18655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4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17505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069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042A7D-BCD5-4516-A2EE-A0100EDF08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838" y="858366"/>
            <a:ext cx="10728324" cy="4079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27A11FD-E7CA-2E4D-A8B1-67553FE75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562EFCA-46DA-724C-BFF2-70EF931631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2271662"/>
            <a:ext cx="5364163" cy="28489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566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56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B95EDD-A2B5-3E45-A908-4C8ACDDB1AA7}"/>
              </a:ext>
            </a:extLst>
          </p:cNvPr>
          <p:cNvCxnSpPr>
            <a:cxnSpLocks/>
          </p:cNvCxnSpPr>
          <p:nvPr userDrawn="1"/>
        </p:nvCxnSpPr>
        <p:spPr>
          <a:xfrm flipV="1">
            <a:off x="731837" y="5405552"/>
            <a:ext cx="0" cy="7141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DEA6B7-C6FB-C94B-8F24-89BEEA78BA2C}"/>
              </a:ext>
            </a:extLst>
          </p:cNvPr>
          <p:cNvCxnSpPr>
            <a:cxnSpLocks/>
          </p:cNvCxnSpPr>
          <p:nvPr userDrawn="1"/>
        </p:nvCxnSpPr>
        <p:spPr>
          <a:xfrm flipV="1">
            <a:off x="4445947" y="5405552"/>
            <a:ext cx="0" cy="7141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B17879B-5FE7-5948-B42D-83DF432FBBBF}"/>
              </a:ext>
            </a:extLst>
          </p:cNvPr>
          <p:cNvCxnSpPr>
            <a:cxnSpLocks/>
          </p:cNvCxnSpPr>
          <p:nvPr userDrawn="1"/>
        </p:nvCxnSpPr>
        <p:spPr>
          <a:xfrm flipV="1">
            <a:off x="8393616" y="5405552"/>
            <a:ext cx="0" cy="7141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E3B42DC6-CAEA-0F44-9BFF-FE900062FBC6}"/>
              </a:ext>
            </a:extLst>
          </p:cNvPr>
          <p:cNvSpPr/>
          <p:nvPr userDrawn="1"/>
        </p:nvSpPr>
        <p:spPr>
          <a:xfrm>
            <a:off x="731838" y="1802538"/>
            <a:ext cx="1780356" cy="31011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200">
                <a:solidFill>
                  <a:schemeClr val="bg1"/>
                </a:solidFill>
              </a:rPr>
              <a:t>Solution Highligh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E96FED-F67F-0C4C-911E-CA6312378C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563" y="5415177"/>
            <a:ext cx="3420000" cy="69442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10000"/>
              </a:lnSpc>
              <a:buNone/>
              <a:defRPr sz="1050" b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/>
              <a:t>Bill of material grading</a:t>
            </a:r>
            <a:br>
              <a:rPr lang="en-GB"/>
            </a:br>
            <a:r>
              <a:rPr lang="en-GB"/>
              <a:t>Instant compliance screening for your assemblies and formulations against 100+ regulations or your own substance lists</a:t>
            </a:r>
            <a:endParaRPr lang="en-DE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FBC25C3-9820-2D42-9AE0-386245814B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32915" y="5415176"/>
            <a:ext cx="3420000" cy="69442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10000"/>
              </a:lnSpc>
              <a:buNone/>
              <a:defRPr sz="1050" b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/>
              <a:t>Bill of material grading</a:t>
            </a:r>
            <a:br>
              <a:rPr lang="en-GB"/>
            </a:br>
            <a:r>
              <a:rPr lang="en-GB"/>
              <a:t>Instant compliance screening for your assemblies and formulations against 100+ regulations or your own substance lists</a:t>
            </a:r>
            <a:endParaRPr lang="en-DE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657D9A6-D62C-9241-911F-980B025E79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79273" y="5415177"/>
            <a:ext cx="2961639" cy="69442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10000"/>
              </a:lnSpc>
              <a:buNone/>
              <a:defRPr sz="1050" b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/>
              <a:t>Bill of material grading</a:t>
            </a:r>
            <a:br>
              <a:rPr lang="en-GB"/>
            </a:br>
            <a:r>
              <a:rPr lang="en-GB"/>
              <a:t>Instant compliance screening for your assemblies and formulations against 100+ regulations or your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133590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4520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92E88-EB05-2A43-8F8A-1607E768DB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51088" y="2884729"/>
            <a:ext cx="7489825" cy="886397"/>
          </a:xfrm>
        </p:spPr>
        <p:txBody>
          <a:bodyPr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 of the separator slide that can be wrapped into lines</a:t>
            </a:r>
            <a:endParaRPr lang="en-DE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C2186080-3062-3D4A-81C8-34346B2DE8DC}"/>
              </a:ext>
            </a:extLst>
          </p:cNvPr>
          <p:cNvSpPr/>
          <p:nvPr/>
        </p:nvSpPr>
        <p:spPr>
          <a:xfrm>
            <a:off x="5799401" y="1979611"/>
            <a:ext cx="593198" cy="598336"/>
          </a:xfrm>
          <a:custGeom>
            <a:avLst/>
            <a:gdLst>
              <a:gd name="connsiteX0" fmla="*/ 890665 w 890665"/>
              <a:gd name="connsiteY0" fmla="*/ 199156 h 898379"/>
              <a:gd name="connsiteX1" fmla="*/ 694293 w 890665"/>
              <a:gd name="connsiteY1" fmla="*/ 199156 h 898379"/>
              <a:gd name="connsiteX2" fmla="*/ 694293 w 890665"/>
              <a:gd name="connsiteY2" fmla="*/ 634 h 898379"/>
              <a:gd name="connsiteX3" fmla="*/ 604826 w 890665"/>
              <a:gd name="connsiteY3" fmla="*/ 634 h 898379"/>
              <a:gd name="connsiteX4" fmla="*/ 604826 w 890665"/>
              <a:gd name="connsiteY4" fmla="*/ 161353 h 898379"/>
              <a:gd name="connsiteX5" fmla="*/ 445293 w 890665"/>
              <a:gd name="connsiteY5" fmla="*/ 0 h 898379"/>
              <a:gd name="connsiteX6" fmla="*/ 285525 w 890665"/>
              <a:gd name="connsiteY6" fmla="*/ 161353 h 898379"/>
              <a:gd name="connsiteX7" fmla="*/ 285525 w 890665"/>
              <a:gd name="connsiteY7" fmla="*/ 634 h 898379"/>
              <a:gd name="connsiteX8" fmla="*/ 196372 w 890665"/>
              <a:gd name="connsiteY8" fmla="*/ 634 h 898379"/>
              <a:gd name="connsiteX9" fmla="*/ 196372 w 890665"/>
              <a:gd name="connsiteY9" fmla="*/ 199156 h 898379"/>
              <a:gd name="connsiteX10" fmla="*/ 0 w 890665"/>
              <a:gd name="connsiteY10" fmla="*/ 199156 h 898379"/>
              <a:gd name="connsiteX11" fmla="*/ 0 w 890665"/>
              <a:gd name="connsiteY11" fmla="*/ 288787 h 898379"/>
              <a:gd name="connsiteX12" fmla="*/ 159219 w 890665"/>
              <a:gd name="connsiteY12" fmla="*/ 288787 h 898379"/>
              <a:gd name="connsiteX13" fmla="*/ 0 w 890665"/>
              <a:gd name="connsiteY13" fmla="*/ 449269 h 898379"/>
              <a:gd name="connsiteX14" fmla="*/ 158354 w 890665"/>
              <a:gd name="connsiteY14" fmla="*/ 608879 h 898379"/>
              <a:gd name="connsiteX15" fmla="*/ 0 w 890665"/>
              <a:gd name="connsiteY15" fmla="*/ 608879 h 898379"/>
              <a:gd name="connsiteX16" fmla="*/ 0 w 890665"/>
              <a:gd name="connsiteY16" fmla="*/ 698590 h 898379"/>
              <a:gd name="connsiteX17" fmla="*/ 196372 w 890665"/>
              <a:gd name="connsiteY17" fmla="*/ 698590 h 898379"/>
              <a:gd name="connsiteX18" fmla="*/ 196372 w 890665"/>
              <a:gd name="connsiteY18" fmla="*/ 896715 h 898379"/>
              <a:gd name="connsiteX19" fmla="*/ 285525 w 890665"/>
              <a:gd name="connsiteY19" fmla="*/ 896715 h 898379"/>
              <a:gd name="connsiteX20" fmla="*/ 285525 w 890665"/>
              <a:gd name="connsiteY20" fmla="*/ 737026 h 898379"/>
              <a:gd name="connsiteX21" fmla="*/ 445293 w 890665"/>
              <a:gd name="connsiteY21" fmla="*/ 898380 h 898379"/>
              <a:gd name="connsiteX22" fmla="*/ 604826 w 890665"/>
              <a:gd name="connsiteY22" fmla="*/ 737026 h 898379"/>
              <a:gd name="connsiteX23" fmla="*/ 604826 w 890665"/>
              <a:gd name="connsiteY23" fmla="*/ 897112 h 898379"/>
              <a:gd name="connsiteX24" fmla="*/ 693979 w 890665"/>
              <a:gd name="connsiteY24" fmla="*/ 897112 h 898379"/>
              <a:gd name="connsiteX25" fmla="*/ 693979 w 890665"/>
              <a:gd name="connsiteY25" fmla="*/ 698986 h 898379"/>
              <a:gd name="connsiteX26" fmla="*/ 890351 w 890665"/>
              <a:gd name="connsiteY26" fmla="*/ 698986 h 898379"/>
              <a:gd name="connsiteX27" fmla="*/ 890351 w 890665"/>
              <a:gd name="connsiteY27" fmla="*/ 608879 h 898379"/>
              <a:gd name="connsiteX28" fmla="*/ 732311 w 890665"/>
              <a:gd name="connsiteY28" fmla="*/ 608879 h 898379"/>
              <a:gd name="connsiteX29" fmla="*/ 890430 w 890665"/>
              <a:gd name="connsiteY29" fmla="*/ 449269 h 898379"/>
              <a:gd name="connsiteX30" fmla="*/ 731447 w 890665"/>
              <a:gd name="connsiteY30" fmla="*/ 288787 h 898379"/>
              <a:gd name="connsiteX31" fmla="*/ 890665 w 890665"/>
              <a:gd name="connsiteY31" fmla="*/ 288787 h 898379"/>
              <a:gd name="connsiteX32" fmla="*/ 763024 w 890665"/>
              <a:gd name="connsiteY32" fmla="*/ 449507 h 898379"/>
              <a:gd name="connsiteX33" fmla="*/ 445529 w 890665"/>
              <a:gd name="connsiteY33" fmla="*/ 769994 h 898379"/>
              <a:gd name="connsiteX34" fmla="*/ 127642 w 890665"/>
              <a:gd name="connsiteY34" fmla="*/ 449031 h 898379"/>
              <a:gd name="connsiteX35" fmla="*/ 445058 w 890665"/>
              <a:gd name="connsiteY35" fmla="*/ 128623 h 898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890665" h="898379">
                <a:moveTo>
                  <a:pt x="890665" y="199156"/>
                </a:moveTo>
                <a:lnTo>
                  <a:pt x="694293" y="199156"/>
                </a:lnTo>
                <a:lnTo>
                  <a:pt x="694293" y="634"/>
                </a:lnTo>
                <a:lnTo>
                  <a:pt x="604826" y="634"/>
                </a:lnTo>
                <a:lnTo>
                  <a:pt x="604826" y="161353"/>
                </a:lnTo>
                <a:lnTo>
                  <a:pt x="445293" y="0"/>
                </a:lnTo>
                <a:lnTo>
                  <a:pt x="285525" y="161353"/>
                </a:lnTo>
                <a:lnTo>
                  <a:pt x="285525" y="634"/>
                </a:lnTo>
                <a:lnTo>
                  <a:pt x="196372" y="634"/>
                </a:lnTo>
                <a:lnTo>
                  <a:pt x="196372" y="199156"/>
                </a:lnTo>
                <a:lnTo>
                  <a:pt x="0" y="199156"/>
                </a:lnTo>
                <a:lnTo>
                  <a:pt x="0" y="288787"/>
                </a:lnTo>
                <a:lnTo>
                  <a:pt x="159219" y="288787"/>
                </a:lnTo>
                <a:lnTo>
                  <a:pt x="0" y="449269"/>
                </a:lnTo>
                <a:lnTo>
                  <a:pt x="158354" y="608879"/>
                </a:lnTo>
                <a:lnTo>
                  <a:pt x="0" y="608879"/>
                </a:lnTo>
                <a:lnTo>
                  <a:pt x="0" y="698590"/>
                </a:lnTo>
                <a:lnTo>
                  <a:pt x="196372" y="698590"/>
                </a:lnTo>
                <a:lnTo>
                  <a:pt x="196372" y="896715"/>
                </a:lnTo>
                <a:lnTo>
                  <a:pt x="285525" y="896715"/>
                </a:lnTo>
                <a:lnTo>
                  <a:pt x="285525" y="737026"/>
                </a:lnTo>
                <a:lnTo>
                  <a:pt x="445293" y="898380"/>
                </a:lnTo>
                <a:lnTo>
                  <a:pt x="604826" y="737026"/>
                </a:lnTo>
                <a:lnTo>
                  <a:pt x="604826" y="897112"/>
                </a:lnTo>
                <a:lnTo>
                  <a:pt x="693979" y="897112"/>
                </a:lnTo>
                <a:lnTo>
                  <a:pt x="693979" y="698986"/>
                </a:lnTo>
                <a:lnTo>
                  <a:pt x="890351" y="698986"/>
                </a:lnTo>
                <a:lnTo>
                  <a:pt x="890351" y="608879"/>
                </a:lnTo>
                <a:lnTo>
                  <a:pt x="732311" y="608879"/>
                </a:lnTo>
                <a:lnTo>
                  <a:pt x="890430" y="449269"/>
                </a:lnTo>
                <a:lnTo>
                  <a:pt x="731447" y="288787"/>
                </a:lnTo>
                <a:lnTo>
                  <a:pt x="890665" y="288787"/>
                </a:lnTo>
                <a:close/>
                <a:moveTo>
                  <a:pt x="763024" y="449507"/>
                </a:moveTo>
                <a:lnTo>
                  <a:pt x="445529" y="769994"/>
                </a:lnTo>
                <a:lnTo>
                  <a:pt x="127642" y="449031"/>
                </a:lnTo>
                <a:lnTo>
                  <a:pt x="445058" y="128623"/>
                </a:lnTo>
                <a:close/>
              </a:path>
            </a:pathLst>
          </a:custGeom>
          <a:solidFill>
            <a:schemeClr val="accent1"/>
          </a:solidFill>
          <a:ln w="7839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93564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60737E6B-2C51-CE4A-BD6E-10CDD94687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301364" y="2113280"/>
            <a:ext cx="1636011" cy="216187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9881D2-1C0E-7D44-822C-959F9806B4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38338" y="5233044"/>
            <a:ext cx="831532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tx2">
                    <a:alpha val="9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/>
              <a:t>Ready to learn more?</a:t>
            </a:r>
            <a:endParaRPr lang="en-D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9B5D3B-BA96-6F41-83D6-A8B34D4583F4}"/>
              </a:ext>
            </a:extLst>
          </p:cNvPr>
          <p:cNvSpPr txBox="1"/>
          <p:nvPr userDrawn="1"/>
        </p:nvSpPr>
        <p:spPr>
          <a:xfrm>
            <a:off x="1938337" y="6129661"/>
            <a:ext cx="83153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>
                <a:solidFill>
                  <a:schemeClr val="accent1"/>
                </a:solidFill>
              </a:rPr>
              <a:t>MAKERSITE GMBH | </a:t>
            </a:r>
            <a:r>
              <a:rPr lang="en-GB" sz="1050" err="1">
                <a:solidFill>
                  <a:schemeClr val="accent1"/>
                </a:solidFill>
              </a:rPr>
              <a:t>Birketweg</a:t>
            </a:r>
            <a:r>
              <a:rPr lang="en-GB" sz="1050">
                <a:solidFill>
                  <a:schemeClr val="accent1"/>
                </a:solidFill>
              </a:rPr>
              <a:t> 31, 80639 Munich, Germany</a:t>
            </a:r>
            <a:endParaRPr lang="en-DE" sz="105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395918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01 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D09B7-1942-F67B-2189-9FADC882D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6216B1-68E3-ACAE-E78C-E0CE36D86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873BB5-50B0-3648-B930-6B9F5333949E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DFA3E-B480-E2D1-5682-6BCB6F6F5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321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-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60737E6B-2C51-CE4A-BD6E-10CDD94687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761022" y="4870750"/>
            <a:ext cx="669957" cy="88530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9881D2-1C0E-7D44-822C-959F9806B4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3901" y="1380713"/>
            <a:ext cx="7487012" cy="177893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None/>
              <a:defRPr sz="2800" b="1">
                <a:solidFill>
                  <a:schemeClr val="accent1">
                    <a:alpha val="9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/>
              <a:t>Ready to learn more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0B2C63B-B351-3F4A-9474-03DC280AFDB6}"/>
              </a:ext>
            </a:extLst>
          </p:cNvPr>
          <p:cNvSpPr txBox="1"/>
          <p:nvPr userDrawn="1"/>
        </p:nvSpPr>
        <p:spPr>
          <a:xfrm>
            <a:off x="1938337" y="6128125"/>
            <a:ext cx="8315325" cy="485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050">
                <a:solidFill>
                  <a:schemeClr val="tx2"/>
                </a:solidFill>
              </a:rPr>
              <a:t>MAKERSITE GMBH | </a:t>
            </a:r>
            <a:r>
              <a:rPr lang="en-GB" sz="1050" err="1">
                <a:solidFill>
                  <a:schemeClr val="tx2"/>
                </a:solidFill>
              </a:rPr>
              <a:t>Birketweg</a:t>
            </a:r>
            <a:r>
              <a:rPr lang="en-GB" sz="1050">
                <a:solidFill>
                  <a:schemeClr val="tx2"/>
                </a:solidFill>
              </a:rPr>
              <a:t> 31, 80639 Munich, Germany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900">
                <a:solidFill>
                  <a:schemeClr val="tx2"/>
                </a:solidFill>
              </a:rPr>
              <a:t>This information is confidential and may not be copied or distributed to any third party without prior written consent of Makersite GmbH</a:t>
            </a:r>
            <a:endParaRPr lang="en-DE" sz="900">
              <a:solidFill>
                <a:schemeClr val="tx2"/>
              </a:solidFill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592C3EF-C108-3242-9861-981712763E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53901" y="3263938"/>
            <a:ext cx="7487012" cy="123473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bg1">
                    <a:alpha val="9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onnect with us today!</a:t>
            </a:r>
          </a:p>
        </p:txBody>
      </p:sp>
    </p:spTree>
    <p:extLst>
      <p:ext uri="{BB962C8B-B14F-4D97-AF65-F5344CB8AC3E}">
        <p14:creationId xmlns:p14="http://schemas.microsoft.com/office/powerpoint/2010/main" val="159271265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782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1" i="0" baseline="0">
              <a:latin typeface="AvenirNext LT Pro Regular" panose="020B0504020202020204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042A7D-BCD5-4516-A2EE-A0100EDF08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838" y="857614"/>
            <a:ext cx="10728324" cy="4079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b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6A3D89-EF96-4646-AADE-F898FE28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775243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cent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700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1" i="0" baseline="0">
              <a:latin typeface="AvenirNext LT Pro Regular" panose="020B0504020202020204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8224F-4235-FF44-8179-EBBFEC03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389543"/>
            <a:ext cx="10728325" cy="87887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082561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510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1" i="0" baseline="0">
              <a:latin typeface="AvenirNext LT Pro Regular" panose="020B0504020202020204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7EE0D1-44FF-4449-8F3C-F31E91366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88" y="169179"/>
            <a:ext cx="10864933" cy="4954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latin typeface="AvenirNext LT Pro Regular" panose="020B05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6042A7D-BCD5-4516-A2EE-A0100EDF08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688" y="605937"/>
            <a:ext cx="10864933" cy="4079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AvenirNext LT Pro Regular" panose="020B0504020202020204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9381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tx1"/>
                </a:solidFill>
                <a:latin typeface="AvenirNext LT Pro Bold" panose="020B0804020202020204"/>
              </a:defRPr>
            </a:lvl1pPr>
          </a:lstStyle>
          <a:p>
            <a:fld id="{42979D3F-D836-4E67-9634-E4D30EB99C01}" type="slidenum">
              <a:rPr lang="en-US" smtClean="0"/>
              <a:pPr/>
              <a:t>‹#›</a:t>
            </a:fld>
            <a:r>
              <a:rPr lang="en-US"/>
              <a:t> | Makersite</a:t>
            </a:r>
          </a:p>
        </p:txBody>
      </p:sp>
    </p:spTree>
    <p:extLst>
      <p:ext uri="{BB962C8B-B14F-4D97-AF65-F5344CB8AC3E}">
        <p14:creationId xmlns:p14="http://schemas.microsoft.com/office/powerpoint/2010/main" val="28387971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Backu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4ABE63B-820C-441D-9A55-CBB2A84DC171}"/>
              </a:ext>
            </a:extLst>
          </p:cNvPr>
          <p:cNvSpPr/>
          <p:nvPr userDrawn="1"/>
        </p:nvSpPr>
        <p:spPr>
          <a:xfrm>
            <a:off x="742723" y="3508568"/>
            <a:ext cx="3263219" cy="8550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600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digital twin platform </a:t>
            </a:r>
            <a:br>
              <a:rPr lang="en-US" sz="1600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600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product development </a:t>
            </a:r>
            <a:br>
              <a:rPr lang="en-US" sz="1600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600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 supply chains </a:t>
            </a:r>
            <a:endParaRPr lang="en-GB" sz="1600" baseline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Box 2">
            <a:extLst>
              <a:ext uri="{FF2B5EF4-FFF2-40B4-BE49-F238E27FC236}">
                <a16:creationId xmlns:a16="http://schemas.microsoft.com/office/drawing/2014/main" id="{B6A1A131-947F-6146-BAE3-511A74977C4B}"/>
              </a:ext>
            </a:extLst>
          </p:cNvPr>
          <p:cNvSpPr txBox="1"/>
          <p:nvPr userDrawn="1"/>
        </p:nvSpPr>
        <p:spPr>
          <a:xfrm flipH="1">
            <a:off x="720952" y="2444115"/>
            <a:ext cx="3284991" cy="8617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Aft>
                <a:spcPts val="1800"/>
              </a:spcAft>
            </a:pPr>
            <a:r>
              <a:rPr lang="en-GB" sz="28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ke better </a:t>
            </a:r>
            <a:br>
              <a:rPr lang="en-GB" sz="28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28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ts, fast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16B6896-26F2-AE48-9BDF-7FC2CB805B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4647" y="603048"/>
            <a:ext cx="2374314" cy="68470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C9DDB43-D0D0-C445-81C8-AD2883CB543E}"/>
              </a:ext>
            </a:extLst>
          </p:cNvPr>
          <p:cNvSpPr txBox="1"/>
          <p:nvPr userDrawn="1"/>
        </p:nvSpPr>
        <p:spPr>
          <a:xfrm>
            <a:off x="742725" y="5937652"/>
            <a:ext cx="3263218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1200">
                <a:solidFill>
                  <a:schemeClr val="accent6"/>
                </a:solidFill>
              </a:rPr>
              <a:t>Compliance · Cost · Risk · Sustainability</a:t>
            </a:r>
            <a:endParaRPr lang="en-DE" sz="12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043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01 Openi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hart&#10;&#10;Description automatically generated with medium confidence">
            <a:extLst>
              <a:ext uri="{FF2B5EF4-FFF2-40B4-BE49-F238E27FC236}">
                <a16:creationId xmlns:a16="http://schemas.microsoft.com/office/drawing/2014/main" id="{E79D8238-0BBB-0002-5D94-34D8EE6BE4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681" r="14841" b="5991"/>
          <a:stretch/>
        </p:blipFill>
        <p:spPr>
          <a:xfrm>
            <a:off x="0" y="-258972"/>
            <a:ext cx="12192000" cy="683995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5ED09B7-1942-F67B-2189-9FADC882D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768350"/>
            <a:ext cx="6067714" cy="2852737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3621087"/>
            <a:ext cx="6067714" cy="150018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Edit Master Text Format
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6736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 Title slide 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8C25BB37-4749-C13C-6766-869C3EBCF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r>
              <a:rPr lang="de-DE"/>
              <a:t>
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71A902C2-E26B-F648-166B-416A3C1F28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</p:spTree>
    <p:extLst>
      <p:ext uri="{BB962C8B-B14F-4D97-AF65-F5344CB8AC3E}">
        <p14:creationId xmlns:p14="http://schemas.microsoft.com/office/powerpoint/2010/main" val="3867885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 Title slide 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5FFDFA89-A673-C7B6-96D9-11B1DC9E2A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C0354A7-576D-46B5-D2C4-6F90960F9E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</p:spTree>
    <p:extLst>
      <p:ext uri="{BB962C8B-B14F-4D97-AF65-F5344CB8AC3E}">
        <p14:creationId xmlns:p14="http://schemas.microsoft.com/office/powerpoint/2010/main" val="3597422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 Title slide 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ED03D799-C5B1-9AEA-AF0C-B3A6BC8249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103393BE-A447-C707-0407-445405CD6E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17391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01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D09B7-1942-F67B-2189-9FADC882D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Edit Master Text Format
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87338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01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BE4DD-ED93-FA36-A08C-503103E4D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Edit Master Title Form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FDBC68-EE80-A2EC-0617-8C048130DB61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67B8C9-38A2-243C-3FFB-18AFFC4C2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CE92A-7AD3-6D45-A343-BC82E0F1706C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FD213D08-B6BA-A2D7-4856-71FAC33B28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51345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 Section title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B952A737-5762-ACA0-2D7C-9EA8CFCBE0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</p:spTree>
    <p:extLst>
      <p:ext uri="{BB962C8B-B14F-4D97-AF65-F5344CB8AC3E}">
        <p14:creationId xmlns:p14="http://schemas.microsoft.com/office/powerpoint/2010/main" val="7476241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 Section title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A994CAC3-9801-9353-E11E-29435A38C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185497D-366C-B076-A851-B6C2B39D6D0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0349337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01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BE4DD-ED93-FA36-A08C-503103E4D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FDBC68-EE80-A2EC-0617-8C048130DB61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7AD68BAD-33B5-CA44-A10F-3EFFEF468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60012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681133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4231B5A-D79A-AA73-B7A4-24455EB528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1826814"/>
            <a:ext cx="5681133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E9180A13-8961-677C-42AC-0B44C654E4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8088368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7440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38334" y="1761067"/>
            <a:ext cx="5681133" cy="7440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7A89EC-7AEE-399A-01AB-4561B4770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565400"/>
            <a:ext cx="5681133" cy="3612752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4A3CEBBC-BE48-59B0-BFFF-B698A3CC712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2565400"/>
            <a:ext cx="5681133" cy="3612752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26F977C-5AC5-F0D6-2D09-B5B5CFC20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708856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4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itle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38334" y="1761067"/>
            <a:ext cx="5681133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itle Format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7A89EC-7AEE-399A-01AB-4561B4770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344994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26F977C-5AC5-F0D6-2D09-B5B5CFC20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6D43533-AB26-5DA2-ABAF-AA7B919AC78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38333" y="2344994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05BD225-4094-1D73-FAAA-9389F34B94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7133" y="3969008"/>
            <a:ext cx="5681132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itle Forma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35E3C4DD-7DE4-9ED8-7342-2F66F63D21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38334" y="3969008"/>
            <a:ext cx="5681133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itle Format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3986F7-A265-B93D-9BDC-2898E44C9F45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47132" y="4552935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D6CDCC3-7C15-313E-E1D6-FC0D0791A99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138333" y="4552935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2532427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5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/>
        </p:nvSpPr>
        <p:spPr>
          <a:xfrm>
            <a:off x="6028265" y="0"/>
            <a:ext cx="61637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418669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39D1BE5-57DB-E040-F19F-EBC44E036619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409265" y="1826814"/>
            <a:ext cx="5418669" cy="43513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C98AEEF-FC5F-A1D7-B051-0D92766D5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4" y="365126"/>
            <a:ext cx="5418668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3713007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6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47964D-8F3C-AF94-6E61-6D85D76961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4F3218-B760-74AB-D524-A063F409FB9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2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EF00014-82E3-C7F1-14DD-F94C4143937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0E51D441-8C0A-B9CF-86CF-76EB7C8BBCE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209947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C8E2151-4F76-0638-07F2-51940768612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209947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075D47B-B623-11A5-C043-760CEE2DF1F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072763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ECD0878-7AD7-FB96-A345-B58418F35A7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72763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12674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7AD68BAD-33B5-CA44-A10F-3EFFEF468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4C3C8A26-14E4-3A9E-9231-E1A0EBD6F7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0878890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subtitle_no gr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7AD68BAD-33B5-CA44-A10F-3EFFEF468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4C3C8A26-14E4-3A9E-9231-E1A0EBD6F7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F4C2918-4AF5-86AB-8D45-2F90B86CBFB9}"/>
              </a:ext>
            </a:extLst>
          </p:cNvPr>
          <p:cNvSpPr txBox="1">
            <a:spLocks/>
          </p:cNvSpPr>
          <p:nvPr/>
        </p:nvSpPr>
        <p:spPr>
          <a:xfrm>
            <a:off x="359832" y="1449839"/>
            <a:ext cx="11472335" cy="4870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600"/>
              <a:t>Edit </a:t>
            </a:r>
            <a:r>
              <a:rPr lang="de-DE" sz="1600" err="1"/>
              <a:t>Subtitle</a:t>
            </a:r>
            <a:r>
              <a:rPr lang="de-DE" sz="1600"/>
              <a:t> Format</a:t>
            </a:r>
          </a:p>
        </p:txBody>
      </p:sp>
    </p:spTree>
    <p:extLst>
      <p:ext uri="{BB962C8B-B14F-4D97-AF65-F5344CB8AC3E}">
        <p14:creationId xmlns:p14="http://schemas.microsoft.com/office/powerpoint/2010/main" val="23851466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681133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4231B5A-D79A-AA73-B7A4-24455EB528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1826814"/>
            <a:ext cx="5681133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41995-C809-DC47-97E8-AD6C9AB452A8}" type="datetime1">
              <a:rPr lang="de-DE" smtClean="0"/>
              <a:t>24.02.2026</a:t>
            </a:fld>
            <a:endParaRPr lang="de-DE"/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5B8B706-E5FA-38F9-0943-14C5BD74C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80DB1D65-99A5-F4E0-BB7B-2570AD2960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27544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7_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A22348-D894-5767-5D1F-5CDBCBD1F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38334" y="887505"/>
            <a:ext cx="5704494" cy="474031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err="1"/>
              <a:t>Object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9D4F514-42BC-0A1C-F76C-C196EF9ABDE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7132" y="2015064"/>
            <a:ext cx="5681132" cy="361275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3C2EEF55-F623-86DD-CD07-FAD61FFE98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BA80BC-8602-A11B-1CD6-210CD7B7C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2" y="887505"/>
            <a:ext cx="5681132" cy="11233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</p:spTree>
    <p:extLst>
      <p:ext uri="{BB962C8B-B14F-4D97-AF65-F5344CB8AC3E}">
        <p14:creationId xmlns:p14="http://schemas.microsoft.com/office/powerpoint/2010/main" val="19997599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/>
        </p:nvSpPr>
        <p:spPr>
          <a:xfrm>
            <a:off x="6028265" y="0"/>
            <a:ext cx="61637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13422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B89C85-5B2B-88CA-8F51-A4C4776FF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61953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B89C85-5B2B-88CA-8F51-A4C4776FF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D876A09A-0CA6-8476-05B6-CA4DCFF831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3113314"/>
            <a:ext cx="10100733" cy="1217844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.</a:t>
            </a:r>
          </a:p>
        </p:txBody>
      </p:sp>
      <p:pic>
        <p:nvPicPr>
          <p:cNvPr id="8" name="Grafik 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3782FF68-0A18-5B03-98EB-69BA5C1322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7716" y="1936748"/>
            <a:ext cx="1176566" cy="1176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2111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1D97B-B422-DAD0-9512-B27B1A8D1B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8B46B1-F504-34D5-C836-CD5017CBE7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FD995D-7F75-B6E6-40DC-5DBE7400A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A87C0-B1AE-4373-B282-DD6D0A23B454}" type="datetimeFigureOut">
              <a:rPr lang="en-GB" smtClean="0"/>
              <a:t>24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C598D5-6692-47F0-A715-5C9ED997B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F6B337-78A9-5267-79C6-46E691AC6D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71438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626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032152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01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D27A9C-4334-737B-DAFB-CF1AFD5BF7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C25BB37-4749-C13C-6766-869C3EBCF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BFF50B-36ED-4D39-7B69-673032CD0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02BED-2381-384D-9859-0B51933C12B0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C885572-8712-F32D-BEBB-2DD18513E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269FF40E-E7CC-0449-9852-6CCAFED2E5C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38464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01 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D09B7-1942-F67B-2189-9FADC882D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6216B1-68E3-ACAE-E78C-E0CE36D86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873BB5-50B0-3648-B930-6B9F5333949E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DFA3E-B480-E2D1-5682-6BCB6F6F5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78642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01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BE4DD-ED93-FA36-A08C-503103E4D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Edit Master Title Form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FDBC68-EE80-A2EC-0617-8C048130DB61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67B8C9-38A2-243C-3FFB-18AFFC4C2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CE92A-7AD3-6D45-A343-BC82E0F1706C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FD213D08-B6BA-A2D7-4856-71FAC33B28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78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7440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63737" y="1761067"/>
            <a:ext cx="5655730" cy="7440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45782-7D0C-CC45-B0BE-D3F1278378E9}" type="datetime1">
              <a:rPr lang="de-DE" smtClean="0"/>
              <a:t>24.02.2026</a:t>
            </a:fld>
            <a:endParaRPr lang="de-DE"/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D2657F6B-B67F-4B7E-7BAC-F136F7AFA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565400"/>
            <a:ext cx="5681133" cy="3612752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4A3CEBBC-BE48-59B0-BFFF-B698A3CC712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2565400"/>
            <a:ext cx="5681133" cy="3612752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329A9A0F-DC33-4CD6-C9F2-8026A01D39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51348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681133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4231B5A-D79A-AA73-B7A4-24455EB528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1826814"/>
            <a:ext cx="5681133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41995-C809-DC47-97E8-AD6C9AB452A8}" type="datetime1">
              <a:rPr lang="de-DE" smtClean="0"/>
              <a:t>24.02.2026</a:t>
            </a:fld>
            <a:endParaRPr lang="de-DE"/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5B8B706-E5FA-38F9-0943-14C5BD74C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80DB1D65-99A5-F4E0-BB7B-2570AD2960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662376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7440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63737" y="1761067"/>
            <a:ext cx="5655730" cy="7440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45782-7D0C-CC45-B0BE-D3F1278378E9}" type="datetime1">
              <a:rPr lang="de-DE" smtClean="0"/>
              <a:t>24.02.2026</a:t>
            </a:fld>
            <a:endParaRPr lang="de-DE"/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D2657F6B-B67F-4B7E-7BAC-F136F7AFA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565400"/>
            <a:ext cx="5681133" cy="3612752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4A3CEBBC-BE48-59B0-BFFF-B698A3CC712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2565400"/>
            <a:ext cx="5681133" cy="3612752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329A9A0F-DC33-4CD6-C9F2-8026A01D39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2310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 userDrawn="1"/>
        </p:nvSpPr>
        <p:spPr>
          <a:xfrm>
            <a:off x="6028265" y="0"/>
            <a:ext cx="6163735" cy="6858000"/>
          </a:xfrm>
          <a:prstGeom prst="rect">
            <a:avLst/>
          </a:prstGeom>
          <a:solidFill>
            <a:srgbClr val="003C4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418669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E6362-F1B8-0D47-B6FD-947C218504EF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5B8B706-E5FA-38F9-0943-14C5BD74C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4" y="365125"/>
            <a:ext cx="541866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39D1BE5-57DB-E040-F19F-EBC44E036619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409265" y="1826814"/>
            <a:ext cx="5418669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99270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38334" y="1761067"/>
            <a:ext cx="5681133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67F63-0F25-0942-974C-2721EC83BA2A}" type="datetime1">
              <a:rPr lang="de-DE" smtClean="0"/>
              <a:t>24.02.2026</a:t>
            </a:fld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7A89EC-7AEE-399A-01AB-4561B4770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344994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26F977C-5AC5-F0D6-2D09-B5B5CFC20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6D43533-AB26-5DA2-ABAF-AA7B919AC78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38333" y="2344994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05BD225-4094-1D73-FAAA-9389F34B94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7133" y="3969008"/>
            <a:ext cx="5681132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35E3C4DD-7DE4-9ED8-7342-2F66F63D21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38334" y="3969008"/>
            <a:ext cx="5681133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3986F7-A265-B93D-9BDC-2898E44C9F45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47132" y="4552935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D6CDCC3-7C15-313E-E1D6-FC0D0791A99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138333" y="4552935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26605270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5B1AAC-E7C4-C2F7-DCA4-CE9DDACED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666AD-C314-7F4E-9509-66E5E4AFB9D3}" type="datetime1">
              <a:rPr lang="de-DE" smtClean="0"/>
              <a:t>24.02.2026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47964D-8F3C-AF94-6E61-6D85D76961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4F3218-B760-74AB-D524-A063F409FB9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2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EF00014-82E3-C7F1-14DD-F94C4143937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0E51D441-8C0A-B9CF-86CF-76EB7C8BBCE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209947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C8E2151-4F76-0638-07F2-51940768612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209947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075D47B-B623-11A5-C043-760CEE2DF1F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072763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ECD0878-7AD7-FB96-A345-B58418F35A7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72763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5531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A22348-D894-5767-5D1F-5CDBCBD1F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38334" y="887505"/>
            <a:ext cx="5704494" cy="474031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err="1"/>
              <a:t>Object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9D4F514-42BC-0A1C-F76C-C196EF9ABDE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7132" y="2015064"/>
            <a:ext cx="5681132" cy="361275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E8D0C8-465F-F0E6-FCC0-8809F119E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56B32-8E03-F345-9EAA-012F2F215878}" type="datetime1">
              <a:rPr lang="de-DE" smtClean="0"/>
              <a:t>24.02.2026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BA80BC-8602-A11B-1CD6-210CD7B7C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2" y="887505"/>
            <a:ext cx="5681132" cy="11233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FE85BC-F7C0-530C-04FE-6D25014800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099224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5B1AAC-E7C4-C2F7-DCA4-CE9DDACED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5120D4-48CA-D74A-9596-AE2075A19A47}" type="datetime1">
              <a:rPr lang="de-DE" smtClean="0"/>
              <a:t>24.02.2026</a:t>
            </a:fld>
            <a:endParaRPr lang="de-DE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1588A292-F59D-DA81-864E-F8E84AB01F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60761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Empt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 userDrawn="1"/>
        </p:nvSpPr>
        <p:spPr>
          <a:xfrm>
            <a:off x="6028265" y="0"/>
            <a:ext cx="6163735" cy="6858000"/>
          </a:xfrm>
          <a:prstGeom prst="rect">
            <a:avLst/>
          </a:prstGeom>
          <a:solidFill>
            <a:srgbClr val="003C4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80240-1695-4A4C-B6C0-3EB4702AE39C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0720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Empt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6D26D4-D406-5977-E851-5A315510C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7CB7C-4D21-604B-A723-7599B63B3302}" type="datetime1">
              <a:rPr lang="de-DE" smtClean="0"/>
              <a:t>24.02.2026</a:t>
            </a:fld>
            <a:endParaRPr lang="de-DE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03C88F31-1CF9-FDBA-9929-0A31A1889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9987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01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D27A9C-4334-737B-DAFB-CF1AFD5BF7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C25BB37-4749-C13C-6766-869C3EBCF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BFF50B-36ED-4D39-7B69-673032CD0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02BED-2381-384D-9859-0B51933C12B0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C885572-8712-F32D-BEBB-2DD18513E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269FF40E-E7CC-0449-9852-6CCAFED2E5C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3345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 userDrawn="1"/>
        </p:nvSpPr>
        <p:spPr>
          <a:xfrm>
            <a:off x="6028265" y="0"/>
            <a:ext cx="6163735" cy="6858000"/>
          </a:xfrm>
          <a:prstGeom prst="rect">
            <a:avLst/>
          </a:prstGeom>
          <a:solidFill>
            <a:srgbClr val="003C4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418669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E6362-F1B8-0D47-B6FD-947C218504EF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5B8B706-E5FA-38F9-0943-14C5BD74C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4" y="365125"/>
            <a:ext cx="541866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39D1BE5-57DB-E040-F19F-EBC44E036619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409265" y="1826814"/>
            <a:ext cx="5418669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5211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01 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D09B7-1942-F67B-2189-9FADC882D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6216B1-68E3-ACAE-E78C-E0CE36D86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873BB5-50B0-3648-B930-6B9F5333949E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DFA3E-B480-E2D1-5682-6BCB6F6F5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37395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01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BE4DD-ED93-FA36-A08C-503103E4D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Edit Master Title Form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FDBC68-EE80-A2EC-0617-8C048130DB61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67B8C9-38A2-243C-3FFB-18AFFC4C2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CE92A-7AD3-6D45-A343-BC82E0F1706C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FD213D08-B6BA-A2D7-4856-71FAC33B28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41676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681133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4231B5A-D79A-AA73-B7A4-24455EB528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1826814"/>
            <a:ext cx="5681133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41995-C809-DC47-97E8-AD6C9AB452A8}" type="datetime1">
              <a:rPr lang="de-DE" smtClean="0"/>
              <a:t>24.02.2026</a:t>
            </a:fld>
            <a:endParaRPr lang="de-DE"/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5B8B706-E5FA-38F9-0943-14C5BD74C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80DB1D65-99A5-F4E0-BB7B-2570AD2960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26951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7440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63737" y="1761067"/>
            <a:ext cx="5655730" cy="7440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45782-7D0C-CC45-B0BE-D3F1278378E9}" type="datetime1">
              <a:rPr lang="de-DE" smtClean="0"/>
              <a:t>24.02.2026</a:t>
            </a:fld>
            <a:endParaRPr lang="de-DE"/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D2657F6B-B67F-4B7E-7BAC-F136F7AFA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565400"/>
            <a:ext cx="5681133" cy="3612752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4A3CEBBC-BE48-59B0-BFFF-B698A3CC712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2565400"/>
            <a:ext cx="5681133" cy="3612752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329A9A0F-DC33-4CD6-C9F2-8026A01D39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6663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4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/>
        </p:nvSpPr>
        <p:spPr>
          <a:xfrm>
            <a:off x="6028265" y="0"/>
            <a:ext cx="6163735" cy="6858000"/>
          </a:xfrm>
          <a:prstGeom prst="rect">
            <a:avLst/>
          </a:prstGeom>
          <a:solidFill>
            <a:srgbClr val="003C4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418669" cy="4351338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E6362-F1B8-0D47-B6FD-947C218504EF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5B8B706-E5FA-38F9-0943-14C5BD74C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4" y="365125"/>
            <a:ext cx="541866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39D1BE5-57DB-E040-F19F-EBC44E036619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409265" y="1826814"/>
            <a:ext cx="5418669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9365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5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38334" y="1761067"/>
            <a:ext cx="5681133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67F63-0F25-0942-974C-2721EC83BA2A}" type="datetime1">
              <a:rPr lang="de-DE" smtClean="0"/>
              <a:t>24.02.2026</a:t>
            </a:fld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7A89EC-7AEE-399A-01AB-4561B4770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344994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26F977C-5AC5-F0D6-2D09-B5B5CFC20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6D43533-AB26-5DA2-ABAF-AA7B919AC78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38333" y="2344994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05BD225-4094-1D73-FAAA-9389F34B94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7133" y="3969008"/>
            <a:ext cx="5681132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35E3C4DD-7DE4-9ED8-7342-2F66F63D21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38334" y="3969008"/>
            <a:ext cx="5681133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3986F7-A265-B93D-9BDC-2898E44C9F45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47132" y="4552935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D6CDCC3-7C15-313E-E1D6-FC0D0791A99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138333" y="4552935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999958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7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5B1AAC-E7C4-C2F7-DCA4-CE9DDACED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666AD-C314-7F4E-9509-66E5E4AFB9D3}" type="datetime1">
              <a:rPr lang="de-DE" smtClean="0"/>
              <a:t>24.02.2026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47964D-8F3C-AF94-6E61-6D85D76961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4F3218-B760-74AB-D524-A063F409FB9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2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EF00014-82E3-C7F1-14DD-F94C4143937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0E51D441-8C0A-B9CF-86CF-76EB7C8BBCE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209947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C8E2151-4F76-0638-07F2-51940768612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209947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075D47B-B623-11A5-C043-760CEE2DF1F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072763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ECD0878-7AD7-FB96-A345-B58418F35A7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72763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01207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8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A22348-D894-5767-5D1F-5CDBCBD1F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38334" y="887505"/>
            <a:ext cx="5704494" cy="474031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err="1"/>
              <a:t>Object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9D4F514-42BC-0A1C-F76C-C196EF9ABDE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7132" y="2015064"/>
            <a:ext cx="5681132" cy="361275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E8D0C8-465F-F0E6-FCC0-8809F119E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56B32-8E03-F345-9EAA-012F2F215878}" type="datetime1">
              <a:rPr lang="de-DE" smtClean="0"/>
              <a:t>24.02.2026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BA80BC-8602-A11B-1CD6-210CD7B7C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2" y="887505"/>
            <a:ext cx="5681132" cy="11233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FE85BC-F7C0-530C-04FE-6D25014800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73236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5B1AAC-E7C4-C2F7-DCA4-CE9DDACED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5120D4-48CA-D74A-9596-AE2075A19A47}" type="datetime1">
              <a:rPr lang="de-DE" smtClean="0"/>
              <a:t>24.02.2026</a:t>
            </a:fld>
            <a:endParaRPr lang="de-DE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1588A292-F59D-DA81-864E-F8E84AB01F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98146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Empt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/>
        </p:nvSpPr>
        <p:spPr>
          <a:xfrm>
            <a:off x="6028265" y="0"/>
            <a:ext cx="6163735" cy="6858000"/>
          </a:xfrm>
          <a:prstGeom prst="rect">
            <a:avLst/>
          </a:prstGeom>
          <a:solidFill>
            <a:srgbClr val="003C4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80240-1695-4A4C-B6C0-3EB4702AE39C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0789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38334" y="1761067"/>
            <a:ext cx="5681133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67F63-0F25-0942-974C-2721EC83BA2A}" type="datetime1">
              <a:rPr lang="de-DE" smtClean="0"/>
              <a:t>24.02.2026</a:t>
            </a:fld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7A89EC-7AEE-399A-01AB-4561B4770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344994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26F977C-5AC5-F0D6-2D09-B5B5CFC20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6D43533-AB26-5DA2-ABAF-AA7B919AC78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38333" y="2344994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05BD225-4094-1D73-FAAA-9389F34B94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7133" y="3969008"/>
            <a:ext cx="5681132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35E3C4DD-7DE4-9ED8-7342-2F66F63D21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38334" y="3969008"/>
            <a:ext cx="5681133" cy="58392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3986F7-A265-B93D-9BDC-2898E44C9F45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47132" y="4552935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D6CDCC3-7C15-313E-E1D6-FC0D0791A99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138333" y="4552935"/>
            <a:ext cx="5681133" cy="1546782"/>
          </a:xfr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188646936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Empt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6D26D4-D406-5977-E851-5A315510C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7CB7C-4D21-604B-A723-7599B63B3302}" type="datetime1">
              <a:rPr lang="de-DE" smtClean="0"/>
              <a:t>24.02.2026</a:t>
            </a:fld>
            <a:endParaRPr lang="de-DE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03C88F31-1CF9-FDBA-9929-0A31A1889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97562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01 Openi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hart&#10;&#10;Description automatically generated with medium confidence">
            <a:extLst>
              <a:ext uri="{FF2B5EF4-FFF2-40B4-BE49-F238E27FC236}">
                <a16:creationId xmlns:a16="http://schemas.microsoft.com/office/drawing/2014/main" id="{E79D8238-0BBB-0002-5D94-34D8EE6BE4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681" r="14841" b="5991"/>
          <a:stretch/>
        </p:blipFill>
        <p:spPr>
          <a:xfrm>
            <a:off x="0" y="-258972"/>
            <a:ext cx="12192000" cy="683995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5ED09B7-1942-F67B-2189-9FADC882D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768350"/>
            <a:ext cx="6067714" cy="2852737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3621087"/>
            <a:ext cx="6067714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Edit Master Text Format
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6216B1-68E3-ACAE-E78C-E0CE36D86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A3DF22-BF9B-274F-9DD9-06F21A7B5968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DFA3E-B480-E2D1-5682-6BCB6F6F5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9707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le slide 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8C25BB37-4749-C13C-6766-869C3EBCF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r>
              <a:rPr lang="de-DE"/>
              <a:t>
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BFF50B-36ED-4D39-7B69-673032CD0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98E7D-E6C4-8B44-910A-501D053BD821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C885572-8712-F32D-BEBB-2DD18513E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269FF40E-E7CC-0449-9852-6CCAFED2E5CD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71A902C2-E26B-F648-166B-416A3C1F28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</p:spTree>
    <p:extLst>
      <p:ext uri="{BB962C8B-B14F-4D97-AF65-F5344CB8AC3E}">
        <p14:creationId xmlns:p14="http://schemas.microsoft.com/office/powerpoint/2010/main" val="3374952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Title slide 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BFF50B-36ED-4D39-7B69-673032CD0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72AA0-02C9-5948-980D-EFF77B8FABFB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C885572-8712-F32D-BEBB-2DD18513E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269FF40E-E7CC-0449-9852-6CCAFED2E5C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5FFDFA89-A673-C7B6-96D9-11B1DC9E2A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C0354A7-576D-46B5-D2C4-6F90960F9E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</p:spTree>
    <p:extLst>
      <p:ext uri="{BB962C8B-B14F-4D97-AF65-F5344CB8AC3E}">
        <p14:creationId xmlns:p14="http://schemas.microsoft.com/office/powerpoint/2010/main" val="6679592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Title slide 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BFF50B-36ED-4D39-7B69-673032CD0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79AFF-753A-0948-AECC-95D9D50AF2EA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C885572-8712-F32D-BEBB-2DD18513E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269FF40E-E7CC-0449-9852-6CCAFED2E5CD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ED03D799-C5B1-9AEA-AF0C-B3A6BC8249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103393BE-A447-C707-0407-445405CD6E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83359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01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D09B7-1942-F67B-2189-9FADC882D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Edit Master Text Format
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6216B1-68E3-ACAE-E78C-E0CE36D86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A3DF22-BF9B-274F-9DD9-06F21A7B5968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DFA3E-B480-E2D1-5682-6BCB6F6F5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35958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Section title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6216B1-68E3-ACAE-E78C-E0CE36D86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21BE94-8297-2F46-86A8-77AC1A44E81B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DFA3E-B480-E2D1-5682-6BCB6F6F5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B952A737-5762-ACA0-2D7C-9EA8CFCBE0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</p:spTree>
    <p:extLst>
      <p:ext uri="{BB962C8B-B14F-4D97-AF65-F5344CB8AC3E}">
        <p14:creationId xmlns:p14="http://schemas.microsoft.com/office/powerpoint/2010/main" val="8413687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Section title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6216B1-68E3-ACAE-E78C-E0CE36D86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BEB35-17E8-EC43-96B4-62B9007654B2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DFA3E-B480-E2D1-5682-6BCB6F6F5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A994CAC3-9801-9353-E11E-29435A38C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185497D-366C-B076-A851-B6C2B39D6D0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73151830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01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BE4DD-ED93-FA36-A08C-503103E4D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FDBC68-EE80-A2EC-0617-8C048130D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134" y="1825625"/>
            <a:ext cx="11472334" cy="435133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67B8C9-38A2-243C-3FFB-18AFFC4C2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CA8594D-86F4-3949-AB8D-42C479FF1DF7}" type="datetime1">
              <a:rPr lang="de-DE" smtClean="0"/>
              <a:pPr/>
              <a:t>24.02.2026</a:t>
            </a:fld>
            <a:endParaRPr lang="de-DE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7AD68BAD-33B5-CA44-A10F-3EFFEF468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843184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02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68113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4231B5A-D79A-AA73-B7A4-24455EB528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1826814"/>
            <a:ext cx="568113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3388-A22B-0447-BD57-D127EC365223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E9180A13-8961-677C-42AC-0B44C654E4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182314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5B1AAC-E7C4-C2F7-DCA4-CE9DDACED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666AD-C314-7F4E-9509-66E5E4AFB9D3}" type="datetime1">
              <a:rPr lang="de-DE" smtClean="0"/>
              <a:t>24.02.2026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47964D-8F3C-AF94-6E61-6D85D76961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4F3218-B760-74AB-D524-A063F409FB9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2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EF00014-82E3-C7F1-14DD-F94C4143937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0E51D441-8C0A-B9CF-86CF-76EB7C8BBCE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209947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C8E2151-4F76-0638-07F2-51940768612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209947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075D47B-B623-11A5-C043-760CEE2DF1F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072763" y="1761067"/>
            <a:ext cx="3772107" cy="1224180"/>
          </a:xfr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ECD0878-7AD7-FB96-A345-B58418F35A7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72763" y="2985247"/>
            <a:ext cx="3772107" cy="2572871"/>
          </a:xfr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614154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74400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38334" y="1761067"/>
            <a:ext cx="5681133" cy="74400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F6D5C-62E3-4C4D-A8DB-37E921DAE01A}" type="datetime1">
              <a:rPr lang="de-DE" smtClean="0"/>
              <a:t>24.02.2026</a:t>
            </a:fld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7A89EC-7AEE-399A-01AB-4561B4770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565400"/>
            <a:ext cx="5681133" cy="36127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4A3CEBBC-BE48-59B0-BFFF-B698A3CC712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2565400"/>
            <a:ext cx="5681133" cy="36127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26F977C-5AC5-F0D6-2D09-B5B5CFC20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79214643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58392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itle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38334" y="1761067"/>
            <a:ext cx="5681133" cy="58392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itle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A8AA6-DAB3-7A41-898C-0A981FD9DC3F}" type="datetime1">
              <a:rPr lang="de-DE" smtClean="0"/>
              <a:t>24.02.2026</a:t>
            </a:fld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7A89EC-7AEE-399A-01AB-4561B4770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344994"/>
            <a:ext cx="5681133" cy="1546782"/>
          </a:xfrm>
          <a:prstGeom prst="rect">
            <a:avLst/>
          </a:prstGeo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26F977C-5AC5-F0D6-2D09-B5B5CFC20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6D43533-AB26-5DA2-ABAF-AA7B919AC78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38333" y="2344994"/>
            <a:ext cx="5681133" cy="1546782"/>
          </a:xfrm>
          <a:prstGeom prst="rect">
            <a:avLst/>
          </a:prstGeo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05BD225-4094-1D73-FAAA-9389F34B94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7133" y="3969008"/>
            <a:ext cx="5681132" cy="58392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itle Forma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35E3C4DD-7DE4-9ED8-7342-2F66F63D21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38334" y="3969008"/>
            <a:ext cx="5681133" cy="58392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itle Format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3986F7-A265-B93D-9BDC-2898E44C9F45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47132" y="4552935"/>
            <a:ext cx="5681133" cy="1546782"/>
          </a:xfrm>
          <a:prstGeom prst="rect">
            <a:avLst/>
          </a:prstGeo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D6CDCC3-7C15-313E-E1D6-FC0D0791A99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138333" y="4552935"/>
            <a:ext cx="5681133" cy="1546782"/>
          </a:xfrm>
          <a:prstGeom prst="rect">
            <a:avLst/>
          </a:prstGeo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157876785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 userDrawn="1"/>
        </p:nvSpPr>
        <p:spPr>
          <a:xfrm>
            <a:off x="6028265" y="0"/>
            <a:ext cx="61637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41866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D2858-C0D6-E74A-867C-8B509654E3EF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39D1BE5-57DB-E040-F19F-EBC44E036619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409265" y="1826814"/>
            <a:ext cx="5418669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C98AEEF-FC5F-A1D7-B051-0D92766D5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4" y="365126"/>
            <a:ext cx="5418668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1086552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5B1AAC-E7C4-C2F7-DCA4-CE9DDACED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EB8DC-D77D-BA40-A9FA-1004F9E0804C}" type="datetime1">
              <a:rPr lang="de-DE" smtClean="0"/>
              <a:t>24.02.2026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47964D-8F3C-AF94-6E61-6D85D76961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4F3218-B760-74AB-D524-A063F409FB9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2" y="1761067"/>
            <a:ext cx="3772107" cy="12241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EF00014-82E3-C7F1-14DD-F94C4143937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985247"/>
            <a:ext cx="3772107" cy="25728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0E51D441-8C0A-B9CF-86CF-76EB7C8BBCE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209947" y="1761067"/>
            <a:ext cx="3772107" cy="12241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C8E2151-4F76-0638-07F2-51940768612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209947" y="2985247"/>
            <a:ext cx="3772107" cy="25728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075D47B-B623-11A5-C043-760CEE2DF1F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072763" y="1761067"/>
            <a:ext cx="3772107" cy="12241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ECD0878-7AD7-FB96-A345-B58418F35A7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72763" y="2985247"/>
            <a:ext cx="3772107" cy="25728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42282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67B8C9-38A2-243C-3FFB-18AFFC4C2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F0B59-B5D3-AA47-91CA-36865AF77268}" type="datetime1">
              <a:rPr lang="de-DE" smtClean="0"/>
              <a:t>24.02.2026</a:t>
            </a:fld>
            <a:endParaRPr lang="de-DE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7AD68BAD-33B5-CA44-A10F-3EFFEF468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4C3C8A26-14E4-3A9E-9231-E1A0EBD6F7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2023655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Title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A22348-D894-5767-5D1F-5CDBCBD1F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38334" y="887505"/>
            <a:ext cx="5704494" cy="4740311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err="1"/>
              <a:t>Object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9D4F514-42BC-0A1C-F76C-C196EF9ABDE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7132" y="2015064"/>
            <a:ext cx="5681132" cy="36127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E8D0C8-465F-F0E6-FCC0-8809F119E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25C71-34E3-CE4A-B801-B2B12B0B49B9}" type="datetime1">
              <a:rPr lang="de-DE" smtClean="0"/>
              <a:t>24.02.2026</a:t>
            </a:fld>
            <a:endParaRPr lang="de-DE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3C2EEF55-F623-86DD-CD07-FAD61FFE98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BA80BC-8602-A11B-1CD6-210CD7B7C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2" y="887505"/>
            <a:ext cx="5681132" cy="11233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</p:spTree>
    <p:extLst>
      <p:ext uri="{BB962C8B-B14F-4D97-AF65-F5344CB8AC3E}">
        <p14:creationId xmlns:p14="http://schemas.microsoft.com/office/powerpoint/2010/main" val="294279597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6D26D4-D406-5977-E851-5A315510C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16F71-6CBA-4642-9FD7-83412B5647D6}" type="datetime1">
              <a:rPr lang="de-DE" smtClean="0"/>
              <a:t>24.02.2026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B89C85-5B2B-88CA-8F51-A4C4776FF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D876A09A-0CA6-8476-05B6-CA4DCFF831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3113314"/>
            <a:ext cx="10100733" cy="1217844"/>
          </a:xfrm>
        </p:spPr>
        <p:txBody>
          <a:bodyPr anchor="b"/>
          <a:lstStyle>
            <a:lvl1pPr algn="ctr">
              <a:defRPr sz="6000" b="1" i="0" baseline="0"/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.</a:t>
            </a:r>
          </a:p>
        </p:txBody>
      </p:sp>
      <p:pic>
        <p:nvPicPr>
          <p:cNvPr id="8" name="Grafik 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3782FF68-0A18-5B03-98EB-69BA5C1322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07716" y="1936748"/>
            <a:ext cx="1176566" cy="1176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1749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2 Title/content">
  <p:cSld name="02 Title/content"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g1dce760a10c_0_1746"/>
          <p:cNvSpPr txBox="1">
            <a:spLocks noGrp="1"/>
          </p:cNvSpPr>
          <p:nvPr>
            <p:ph type="body" idx="1"/>
          </p:nvPr>
        </p:nvSpPr>
        <p:spPr>
          <a:xfrm>
            <a:off x="347132" y="1826814"/>
            <a:ext cx="56811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o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o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g1dce760a10c_0_1746"/>
          <p:cNvSpPr txBox="1">
            <a:spLocks noGrp="1"/>
          </p:cNvSpPr>
          <p:nvPr>
            <p:ph type="body" idx="2"/>
          </p:nvPr>
        </p:nvSpPr>
        <p:spPr>
          <a:xfrm>
            <a:off x="6138334" y="1826814"/>
            <a:ext cx="56811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o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o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0" name="Google Shape;290;g1dce760a10c_0_1746"/>
          <p:cNvSpPr txBox="1">
            <a:spLocks noGrp="1"/>
          </p:cNvSpPr>
          <p:nvPr>
            <p:ph type="dt" idx="10"/>
          </p:nvPr>
        </p:nvSpPr>
        <p:spPr>
          <a:xfrm>
            <a:off x="2131109" y="6398422"/>
            <a:ext cx="86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1" name="Google Shape;291;g1dce760a10c_0_1746"/>
          <p:cNvSpPr txBox="1">
            <a:spLocks noGrp="1"/>
          </p:cNvSpPr>
          <p:nvPr>
            <p:ph type="sldNum" idx="12"/>
          </p:nvPr>
        </p:nvSpPr>
        <p:spPr>
          <a:xfrm>
            <a:off x="10799618" y="6398422"/>
            <a:ext cx="10197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r" rtl="0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r" rtl="0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r" rtl="0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r" rtl="0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r" rtl="0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r" rtl="0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r" rtl="0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r" rtl="0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" name="Google Shape;292;g1dce760a10c_0_1746"/>
          <p:cNvSpPr txBox="1">
            <a:spLocks noGrp="1"/>
          </p:cNvSpPr>
          <p:nvPr>
            <p:ph type="title"/>
          </p:nvPr>
        </p:nvSpPr>
        <p:spPr>
          <a:xfrm>
            <a:off x="347133" y="365126"/>
            <a:ext cx="11472300" cy="10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Trebuchet MS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195910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0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6D26D4-D406-5977-E851-5A315510C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16F71-6CBA-4642-9FD7-83412B5647D6}" type="datetime1">
              <a:rPr lang="de-DE" smtClean="0"/>
              <a:t>24.02.2026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B89C85-5B2B-88CA-8F51-A4C4776FF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02429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01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D27A9C-4334-737B-DAFB-CF1AFD5BF7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5633" y="1399273"/>
            <a:ext cx="10100733" cy="2387600"/>
          </a:xfrm>
        </p:spPr>
        <p:txBody>
          <a:bodyPr anchor="b"/>
          <a:lstStyle>
            <a:lvl1pPr algn="ctr">
              <a:defRPr sz="6000" b="1" i="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C25BB37-4749-C13C-6766-869C3EBCF9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45633" y="3862015"/>
            <a:ext cx="10100733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BFF50B-36ED-4D39-7B69-673032CD0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02BED-2381-384D-9859-0B51933C12B0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C885572-8712-F32D-BEBB-2DD18513E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B3732-2ADF-60E4-98EA-8D139F599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269FF40E-E7CC-0449-9852-6CCAFED2E5C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7911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A22348-D894-5767-5D1F-5CDBCBD1F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38334" y="887505"/>
            <a:ext cx="5704494" cy="474031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err="1"/>
              <a:t>Object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9D4F514-42BC-0A1C-F76C-C196EF9ABDE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7132" y="2015064"/>
            <a:ext cx="5681132" cy="361275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E8D0C8-465F-F0E6-FCC0-8809F119E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56B32-8E03-F345-9EAA-012F2F215878}" type="datetime1">
              <a:rPr lang="de-DE" smtClean="0"/>
              <a:t>24.02.2026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BA80BC-8602-A11B-1CD6-210CD7B7C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2" y="887505"/>
            <a:ext cx="5681132" cy="11233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FE85BC-F7C0-530C-04FE-6D25014800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39054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01 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D09B7-1942-F67B-2189-9FADC882D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0AA287-9138-E71B-8902-05A69A13E4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6216B1-68E3-ACAE-E78C-E0CE36D86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873BB5-50B0-3648-B930-6B9F5333949E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DFA3E-B480-E2D1-5682-6BCB6F6F5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60E143E-5563-9751-819C-FE02F0CC5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071708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01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BE4DD-ED93-FA36-A08C-503103E4D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FDBC68-EE80-A2EC-0617-8C048130DB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7134" y="1825625"/>
            <a:ext cx="11472334" cy="4351338"/>
          </a:xfrm>
          <a:prstGeom prst="rect">
            <a:avLst/>
          </a:prstGeom>
        </p:spPr>
        <p:txBody>
          <a:bodyPr/>
          <a:lstStyle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67B8C9-38A2-243C-3FFB-18AFFC4C2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CE92A-7AD3-6D45-A343-BC82E0F1706C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FD213D08-B6BA-A2D7-4856-71FAC33B28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256120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68113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4231B5A-D79A-AA73-B7A4-24455EB528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1826814"/>
            <a:ext cx="568113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41995-C809-DC47-97E8-AD6C9AB452A8}" type="datetime1">
              <a:rPr lang="de-DE" smtClean="0"/>
              <a:t>24.02.2026</a:t>
            </a:fld>
            <a:endParaRPr lang="de-DE"/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5B8B706-E5FA-38F9-0943-14C5BD74C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80DB1D65-99A5-F4E0-BB7B-2570AD2960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510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74400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63737" y="1761067"/>
            <a:ext cx="5655730" cy="74400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45782-7D0C-CC45-B0BE-D3F1278378E9}" type="datetime1">
              <a:rPr lang="de-DE" smtClean="0"/>
              <a:t>24.02.2026</a:t>
            </a:fld>
            <a:endParaRPr lang="de-DE"/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D2657F6B-B67F-4B7E-7BAC-F136F7AFA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565400"/>
            <a:ext cx="5681133" cy="36127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4A3CEBBC-BE48-59B0-BFFF-B698A3CC712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38334" y="2565400"/>
            <a:ext cx="5681133" cy="36127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329A9A0F-DC33-4CD6-C9F2-8026A01D39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22172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 userDrawn="1"/>
        </p:nvSpPr>
        <p:spPr>
          <a:xfrm>
            <a:off x="6028265" y="0"/>
            <a:ext cx="6163735" cy="6858000"/>
          </a:xfrm>
          <a:prstGeom prst="rect">
            <a:avLst/>
          </a:prstGeom>
          <a:solidFill>
            <a:srgbClr val="003C4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56E49-DA81-B77C-9475-E908E6AF08A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47132" y="1826814"/>
            <a:ext cx="541866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E6362-F1B8-0D47-B6FD-947C218504EF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5B8B706-E5FA-38F9-0943-14C5BD74C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4" y="365125"/>
            <a:ext cx="541866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39D1BE5-57DB-E040-F19F-EBC44E036619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409265" y="1826814"/>
            <a:ext cx="5418669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44243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E7DDE3-14B5-6CC3-A8B2-969E6F9634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3" y="1761067"/>
            <a:ext cx="5681132" cy="58392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81D769-F9EB-476A-1406-52493417CF4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38334" y="1761067"/>
            <a:ext cx="5681133" cy="58392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C9A780-32DF-4FD3-134E-FEC2A96CC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67F63-0F25-0942-974C-2721EC83BA2A}" type="datetime1">
              <a:rPr lang="de-DE" smtClean="0"/>
              <a:t>24.02.2026</a:t>
            </a:fld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7A89EC-7AEE-399A-01AB-4561B4770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F7EE90-E58E-1183-849F-723D2C84FAB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344994"/>
            <a:ext cx="5681133" cy="1546782"/>
          </a:xfrm>
          <a:prstGeom prst="rect">
            <a:avLst/>
          </a:prstGeo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426F977C-5AC5-F0D6-2D09-B5B5CFC20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6D43533-AB26-5DA2-ABAF-AA7B919AC78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38333" y="2344994"/>
            <a:ext cx="5681133" cy="1546782"/>
          </a:xfrm>
          <a:prstGeom prst="rect">
            <a:avLst/>
          </a:prstGeo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05BD225-4094-1D73-FAAA-9389F34B94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7133" y="3969008"/>
            <a:ext cx="5681132" cy="58392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35E3C4DD-7DE4-9ED8-7342-2F66F63D21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38334" y="3969008"/>
            <a:ext cx="5681133" cy="58392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3986F7-A265-B93D-9BDC-2898E44C9F45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47132" y="4552935"/>
            <a:ext cx="5681133" cy="1546782"/>
          </a:xfrm>
          <a:prstGeom prst="rect">
            <a:avLst/>
          </a:prstGeo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D6CDCC3-7C15-313E-E1D6-FC0D0791A99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138333" y="4552935"/>
            <a:ext cx="5681133" cy="1546782"/>
          </a:xfrm>
          <a:prstGeom prst="rect">
            <a:avLst/>
          </a:prstGeom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de-DE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40129236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3" y="365126"/>
            <a:ext cx="11472335" cy="101544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5B1AAC-E7C4-C2F7-DCA4-CE9DDACED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666AD-C314-7F4E-9509-66E5E4AFB9D3}" type="datetime1">
              <a:rPr lang="de-DE" smtClean="0"/>
              <a:t>24.02.2026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47964D-8F3C-AF94-6E61-6D85D76961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4F3218-B760-74AB-D524-A063F409FB9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132" y="1761067"/>
            <a:ext cx="3772107" cy="12241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EF00014-82E3-C7F1-14DD-F94C4143937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47132" y="2985247"/>
            <a:ext cx="3772107" cy="25728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0E51D441-8C0A-B9CF-86CF-76EB7C8BBCE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209947" y="1761067"/>
            <a:ext cx="3772107" cy="12241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C8E2151-4F76-0638-07F2-51940768612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209947" y="2985247"/>
            <a:ext cx="3772107" cy="25728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075D47B-B623-11A5-C043-760CEE2DF1F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072763" y="1761067"/>
            <a:ext cx="3772107" cy="12241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6600" b="1">
                <a:solidFill>
                  <a:srgbClr val="01C9B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ECD0878-7AD7-FB96-A345-B58418F35A7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72763" y="2985247"/>
            <a:ext cx="3772107" cy="25728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662006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A22348-D894-5767-5D1F-5CDBCBD1F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38334" y="887505"/>
            <a:ext cx="5704494" cy="4740311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err="1"/>
              <a:t>Object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9D4F514-42BC-0A1C-F76C-C196EF9ABDE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7132" y="2015064"/>
            <a:ext cx="5681132" cy="36127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Edit Master Text Forma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E8D0C8-465F-F0E6-FCC0-8809F119E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56B32-8E03-F345-9EAA-012F2F215878}" type="datetime1">
              <a:rPr lang="de-DE" smtClean="0"/>
              <a:t>24.02.2026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BA80BC-8602-A11B-1CD6-210CD7B7C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132" y="887505"/>
            <a:ext cx="5681132" cy="11233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Edit Master </a:t>
            </a:r>
            <a:br>
              <a:rPr lang="de-DE"/>
            </a:br>
            <a:r>
              <a:rPr lang="de-DE"/>
              <a:t>Title Forma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FE85BC-F7C0-530C-04FE-6D25014800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56514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426EB2-393D-74AE-2644-7E514B49C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5B1AAC-E7C4-C2F7-DCA4-CE9DDACED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5120D4-48CA-D74A-9596-AE2075A19A47}" type="datetime1">
              <a:rPr lang="de-DE" smtClean="0"/>
              <a:t>24.02.2026</a:t>
            </a:fld>
            <a:endParaRPr lang="de-DE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1588A292-F59D-DA81-864E-F8E84AB01F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996235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Empt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90DB754-368D-EA59-5D7C-700CA551D33C}"/>
              </a:ext>
            </a:extLst>
          </p:cNvPr>
          <p:cNvSpPr/>
          <p:nvPr userDrawn="1"/>
        </p:nvSpPr>
        <p:spPr>
          <a:xfrm>
            <a:off x="6028265" y="0"/>
            <a:ext cx="6163735" cy="6858000"/>
          </a:xfrm>
          <a:prstGeom prst="rect">
            <a:avLst/>
          </a:prstGeom>
          <a:solidFill>
            <a:srgbClr val="003C4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D8D92-F7BF-0A0C-A7A5-1A080C1BE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80240-1695-4A4C-B6C0-3EB4702AE39C}" type="datetime1">
              <a:rPr lang="de-DE" smtClean="0"/>
              <a:t>24.02.2026</a:t>
            </a:fld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C39B82F-8659-A17B-730D-1A8E1830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295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image" Target="../media/image12.svg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11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image" Target="../media/image10.jpe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3.xml"/><Relationship Id="rId21" Type="http://schemas.openxmlformats.org/officeDocument/2006/relationships/image" Target="../media/image11.png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image" Target="../media/image10.jpe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8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image" Target="../media/image12.sv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image" Target="../media/image3.sv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0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alphaModFix amt="47000"/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BD2E4DC-C8EC-E149-AFBD-58864BFDF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7848DA-AAC3-BE99-B194-2B6C716E5B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134" y="1825625"/>
            <a:ext cx="1147233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A577B1-4F3C-1795-452F-617578C660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31109" y="6398422"/>
            <a:ext cx="867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003C4F"/>
                </a:solidFill>
              </a:defRPr>
            </a:lvl1pPr>
          </a:lstStyle>
          <a:p>
            <a:fld id="{79804D7A-E2F9-974B-87D2-90C3C01DE82E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EFB0FB-D88B-D9C7-D25D-6344A8B0E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003C4F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543EA7-F252-6FC0-E4A3-F32A399E54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260E5B2C-6A20-472C-3BFC-03D940456084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257936"/>
            <a:ext cx="12214225" cy="0"/>
          </a:xfrm>
          <a:prstGeom prst="line">
            <a:avLst/>
          </a:prstGeom>
          <a:ln w="1905">
            <a:solidFill>
              <a:srgbClr val="003C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7BEFD6A7-EAD1-FB56-F310-9AEDF1D962D1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3453" y="6328883"/>
            <a:ext cx="1408441" cy="4686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6AD77C3-1207-A08A-A623-7EABED47835B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441113" y="63500"/>
            <a:ext cx="719137" cy="1676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10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1059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0" r:id="rId2"/>
    <p:sldLayoutId id="2147483673" r:id="rId3"/>
    <p:sldLayoutId id="2147483674" r:id="rId4"/>
    <p:sldLayoutId id="2147483675" r:id="rId5"/>
    <p:sldLayoutId id="2147483676" r:id="rId6"/>
    <p:sldLayoutId id="2147483685" r:id="rId7"/>
    <p:sldLayoutId id="2147483683" r:id="rId8"/>
    <p:sldLayoutId id="2147483681" r:id="rId9"/>
    <p:sldLayoutId id="2147483677" r:id="rId10"/>
    <p:sldLayoutId id="2147483678" r:id="rId11"/>
    <p:sldLayoutId id="2147483679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27702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5" imgH="416" progId="TCLayout.ActiveDocument.1">
                  <p:embed/>
                </p:oleObj>
              </mc:Choice>
              <mc:Fallback>
                <p:oleObj name="think-cell Slide" r:id="rId16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0" i="0" baseline="0">
              <a:latin typeface="Verdana" panose="020B0604030504040204" pitchFamily="34" charset="0"/>
              <a:ea typeface="+mj-ea"/>
              <a:cs typeface="+mj-cs"/>
              <a:sym typeface="AvenirNext LT Pro Regular" panose="020B0504020202020204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377A213-58F5-EF4E-8B3A-5B7C1052D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386771"/>
            <a:ext cx="10728325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E33CAA6-5B49-E143-A724-B67930A90C63}"/>
              </a:ext>
            </a:extLst>
          </p:cNvPr>
          <p:cNvSpPr/>
          <p:nvPr userDrawn="1"/>
        </p:nvSpPr>
        <p:spPr>
          <a:xfrm>
            <a:off x="11641138" y="6307205"/>
            <a:ext cx="358775" cy="361883"/>
          </a:xfrm>
          <a:custGeom>
            <a:avLst/>
            <a:gdLst>
              <a:gd name="connsiteX0" fmla="*/ 890665 w 890665"/>
              <a:gd name="connsiteY0" fmla="*/ 199156 h 898379"/>
              <a:gd name="connsiteX1" fmla="*/ 694293 w 890665"/>
              <a:gd name="connsiteY1" fmla="*/ 199156 h 898379"/>
              <a:gd name="connsiteX2" fmla="*/ 694293 w 890665"/>
              <a:gd name="connsiteY2" fmla="*/ 634 h 898379"/>
              <a:gd name="connsiteX3" fmla="*/ 604826 w 890665"/>
              <a:gd name="connsiteY3" fmla="*/ 634 h 898379"/>
              <a:gd name="connsiteX4" fmla="*/ 604826 w 890665"/>
              <a:gd name="connsiteY4" fmla="*/ 161353 h 898379"/>
              <a:gd name="connsiteX5" fmla="*/ 445293 w 890665"/>
              <a:gd name="connsiteY5" fmla="*/ 0 h 898379"/>
              <a:gd name="connsiteX6" fmla="*/ 285525 w 890665"/>
              <a:gd name="connsiteY6" fmla="*/ 161353 h 898379"/>
              <a:gd name="connsiteX7" fmla="*/ 285525 w 890665"/>
              <a:gd name="connsiteY7" fmla="*/ 634 h 898379"/>
              <a:gd name="connsiteX8" fmla="*/ 196372 w 890665"/>
              <a:gd name="connsiteY8" fmla="*/ 634 h 898379"/>
              <a:gd name="connsiteX9" fmla="*/ 196372 w 890665"/>
              <a:gd name="connsiteY9" fmla="*/ 199156 h 898379"/>
              <a:gd name="connsiteX10" fmla="*/ 0 w 890665"/>
              <a:gd name="connsiteY10" fmla="*/ 199156 h 898379"/>
              <a:gd name="connsiteX11" fmla="*/ 0 w 890665"/>
              <a:gd name="connsiteY11" fmla="*/ 288787 h 898379"/>
              <a:gd name="connsiteX12" fmla="*/ 159219 w 890665"/>
              <a:gd name="connsiteY12" fmla="*/ 288787 h 898379"/>
              <a:gd name="connsiteX13" fmla="*/ 0 w 890665"/>
              <a:gd name="connsiteY13" fmla="*/ 449269 h 898379"/>
              <a:gd name="connsiteX14" fmla="*/ 158354 w 890665"/>
              <a:gd name="connsiteY14" fmla="*/ 608879 h 898379"/>
              <a:gd name="connsiteX15" fmla="*/ 0 w 890665"/>
              <a:gd name="connsiteY15" fmla="*/ 608879 h 898379"/>
              <a:gd name="connsiteX16" fmla="*/ 0 w 890665"/>
              <a:gd name="connsiteY16" fmla="*/ 698590 h 898379"/>
              <a:gd name="connsiteX17" fmla="*/ 196372 w 890665"/>
              <a:gd name="connsiteY17" fmla="*/ 698590 h 898379"/>
              <a:gd name="connsiteX18" fmla="*/ 196372 w 890665"/>
              <a:gd name="connsiteY18" fmla="*/ 896715 h 898379"/>
              <a:gd name="connsiteX19" fmla="*/ 285525 w 890665"/>
              <a:gd name="connsiteY19" fmla="*/ 896715 h 898379"/>
              <a:gd name="connsiteX20" fmla="*/ 285525 w 890665"/>
              <a:gd name="connsiteY20" fmla="*/ 737026 h 898379"/>
              <a:gd name="connsiteX21" fmla="*/ 445293 w 890665"/>
              <a:gd name="connsiteY21" fmla="*/ 898380 h 898379"/>
              <a:gd name="connsiteX22" fmla="*/ 604826 w 890665"/>
              <a:gd name="connsiteY22" fmla="*/ 737026 h 898379"/>
              <a:gd name="connsiteX23" fmla="*/ 604826 w 890665"/>
              <a:gd name="connsiteY23" fmla="*/ 897112 h 898379"/>
              <a:gd name="connsiteX24" fmla="*/ 693979 w 890665"/>
              <a:gd name="connsiteY24" fmla="*/ 897112 h 898379"/>
              <a:gd name="connsiteX25" fmla="*/ 693979 w 890665"/>
              <a:gd name="connsiteY25" fmla="*/ 698986 h 898379"/>
              <a:gd name="connsiteX26" fmla="*/ 890351 w 890665"/>
              <a:gd name="connsiteY26" fmla="*/ 698986 h 898379"/>
              <a:gd name="connsiteX27" fmla="*/ 890351 w 890665"/>
              <a:gd name="connsiteY27" fmla="*/ 608879 h 898379"/>
              <a:gd name="connsiteX28" fmla="*/ 732311 w 890665"/>
              <a:gd name="connsiteY28" fmla="*/ 608879 h 898379"/>
              <a:gd name="connsiteX29" fmla="*/ 890430 w 890665"/>
              <a:gd name="connsiteY29" fmla="*/ 449269 h 898379"/>
              <a:gd name="connsiteX30" fmla="*/ 731447 w 890665"/>
              <a:gd name="connsiteY30" fmla="*/ 288787 h 898379"/>
              <a:gd name="connsiteX31" fmla="*/ 890665 w 890665"/>
              <a:gd name="connsiteY31" fmla="*/ 288787 h 898379"/>
              <a:gd name="connsiteX32" fmla="*/ 763024 w 890665"/>
              <a:gd name="connsiteY32" fmla="*/ 449507 h 898379"/>
              <a:gd name="connsiteX33" fmla="*/ 445529 w 890665"/>
              <a:gd name="connsiteY33" fmla="*/ 769994 h 898379"/>
              <a:gd name="connsiteX34" fmla="*/ 127642 w 890665"/>
              <a:gd name="connsiteY34" fmla="*/ 449031 h 898379"/>
              <a:gd name="connsiteX35" fmla="*/ 445058 w 890665"/>
              <a:gd name="connsiteY35" fmla="*/ 128623 h 898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890665" h="898379">
                <a:moveTo>
                  <a:pt x="890665" y="199156"/>
                </a:moveTo>
                <a:lnTo>
                  <a:pt x="694293" y="199156"/>
                </a:lnTo>
                <a:lnTo>
                  <a:pt x="694293" y="634"/>
                </a:lnTo>
                <a:lnTo>
                  <a:pt x="604826" y="634"/>
                </a:lnTo>
                <a:lnTo>
                  <a:pt x="604826" y="161353"/>
                </a:lnTo>
                <a:lnTo>
                  <a:pt x="445293" y="0"/>
                </a:lnTo>
                <a:lnTo>
                  <a:pt x="285525" y="161353"/>
                </a:lnTo>
                <a:lnTo>
                  <a:pt x="285525" y="634"/>
                </a:lnTo>
                <a:lnTo>
                  <a:pt x="196372" y="634"/>
                </a:lnTo>
                <a:lnTo>
                  <a:pt x="196372" y="199156"/>
                </a:lnTo>
                <a:lnTo>
                  <a:pt x="0" y="199156"/>
                </a:lnTo>
                <a:lnTo>
                  <a:pt x="0" y="288787"/>
                </a:lnTo>
                <a:lnTo>
                  <a:pt x="159219" y="288787"/>
                </a:lnTo>
                <a:lnTo>
                  <a:pt x="0" y="449269"/>
                </a:lnTo>
                <a:lnTo>
                  <a:pt x="158354" y="608879"/>
                </a:lnTo>
                <a:lnTo>
                  <a:pt x="0" y="608879"/>
                </a:lnTo>
                <a:lnTo>
                  <a:pt x="0" y="698590"/>
                </a:lnTo>
                <a:lnTo>
                  <a:pt x="196372" y="698590"/>
                </a:lnTo>
                <a:lnTo>
                  <a:pt x="196372" y="896715"/>
                </a:lnTo>
                <a:lnTo>
                  <a:pt x="285525" y="896715"/>
                </a:lnTo>
                <a:lnTo>
                  <a:pt x="285525" y="737026"/>
                </a:lnTo>
                <a:lnTo>
                  <a:pt x="445293" y="898380"/>
                </a:lnTo>
                <a:lnTo>
                  <a:pt x="604826" y="737026"/>
                </a:lnTo>
                <a:lnTo>
                  <a:pt x="604826" y="897112"/>
                </a:lnTo>
                <a:lnTo>
                  <a:pt x="693979" y="897112"/>
                </a:lnTo>
                <a:lnTo>
                  <a:pt x="693979" y="698986"/>
                </a:lnTo>
                <a:lnTo>
                  <a:pt x="890351" y="698986"/>
                </a:lnTo>
                <a:lnTo>
                  <a:pt x="890351" y="608879"/>
                </a:lnTo>
                <a:lnTo>
                  <a:pt x="732311" y="608879"/>
                </a:lnTo>
                <a:lnTo>
                  <a:pt x="890430" y="449269"/>
                </a:lnTo>
                <a:lnTo>
                  <a:pt x="731447" y="288787"/>
                </a:lnTo>
                <a:lnTo>
                  <a:pt x="890665" y="288787"/>
                </a:lnTo>
                <a:close/>
                <a:moveTo>
                  <a:pt x="763024" y="449507"/>
                </a:moveTo>
                <a:lnTo>
                  <a:pt x="445529" y="769994"/>
                </a:lnTo>
                <a:lnTo>
                  <a:pt x="127642" y="449031"/>
                </a:lnTo>
                <a:lnTo>
                  <a:pt x="445058" y="128623"/>
                </a:lnTo>
                <a:close/>
              </a:path>
            </a:pathLst>
          </a:custGeom>
          <a:solidFill>
            <a:schemeClr val="accent1"/>
          </a:solidFill>
          <a:ln w="7839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289C2A-11C3-2A43-3FB1-556B05148B7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441113" y="63500"/>
            <a:ext cx="719137" cy="1676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10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8082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</p:sldLayoutIdLst>
  <p:hf hd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venirNext LT Pro Regular" panose="020B0504020202020204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venirNext LT Pro Regular" panose="020B0504020202020204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venirNext LT Pro Regular" panose="020B0504020202020204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venirNext LT Pro Regular" panose="020B0504020202020204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venirNext LT Pro Regular" panose="020B0504020202020204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61">
          <p15:clr>
            <a:srgbClr val="F26B43"/>
          </p15:clr>
        </p15:guide>
        <p15:guide id="4" pos="7219">
          <p15:clr>
            <a:srgbClr val="F26B43"/>
          </p15:clr>
        </p15:guide>
        <p15:guide id="5" pos="461">
          <p15:clr>
            <a:srgbClr val="F26B43"/>
          </p15:clr>
        </p15:guide>
        <p15:guide id="6" orient="horz" pos="459">
          <p15:clr>
            <a:srgbClr val="F26B43"/>
          </p15:clr>
        </p15:guide>
        <p15:guide id="7" orient="horz" pos="232">
          <p15:clr>
            <a:srgbClr val="F26B43"/>
          </p15:clr>
        </p15:guide>
        <p15:guide id="8" orient="horz" pos="3974">
          <p15:clr>
            <a:srgbClr val="F26B43"/>
          </p15:clr>
        </p15:guide>
        <p15:guide id="9" orient="horz" pos="420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BD2E4DC-C8EC-E149-AFBD-58864BFDF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
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7848DA-AAC3-BE99-B194-2B6C716E5B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134" y="1825625"/>
            <a:ext cx="1147233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Master Text Format
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543EA7-F252-6FC0-E4A3-F32A399E54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E2D829A1-89E0-4B76-9421-4E3236A88F15}" type="slidenum">
              <a:rPr lang="en-GB" smtClean="0"/>
              <a:t>‹#›</a:t>
            </a:fld>
            <a:endParaRPr lang="en-GB"/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260E5B2C-6A20-472C-3BFC-03D940456084}"/>
              </a:ext>
            </a:extLst>
          </p:cNvPr>
          <p:cNvCxnSpPr>
            <a:cxnSpLocks/>
          </p:cNvCxnSpPr>
          <p:nvPr/>
        </p:nvCxnSpPr>
        <p:spPr>
          <a:xfrm flipH="1">
            <a:off x="0" y="6257936"/>
            <a:ext cx="12214225" cy="0"/>
          </a:xfrm>
          <a:prstGeom prst="line">
            <a:avLst/>
          </a:prstGeom>
          <a:ln w="190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7BEFD6A7-EAD1-FB56-F310-9AEDF1D962D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13453" y="6328883"/>
            <a:ext cx="1408441" cy="4686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1B0999F-D414-00C9-67CA-8D79C9C8E55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441113" y="63500"/>
            <a:ext cx="719137" cy="1676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10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83167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62" r:id="rId21"/>
    <p:sldLayoutId id="2147483810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alphaModFix amt="47000"/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BD2E4DC-C8EC-E149-AFBD-58864BFDF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7848DA-AAC3-BE99-B194-2B6C716E5B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134" y="1825625"/>
            <a:ext cx="1147233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A577B1-4F3C-1795-452F-617578C660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31109" y="6398422"/>
            <a:ext cx="867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003C4F"/>
                </a:solidFill>
              </a:defRPr>
            </a:lvl1pPr>
          </a:lstStyle>
          <a:p>
            <a:fld id="{79804D7A-E2F9-974B-87D2-90C3C01DE82E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EFB0FB-D88B-D9C7-D25D-6344A8B0E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003C4F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543EA7-F252-6FC0-E4A3-F32A399E54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260E5B2C-6A20-472C-3BFC-03D940456084}"/>
              </a:ext>
            </a:extLst>
          </p:cNvPr>
          <p:cNvCxnSpPr>
            <a:cxnSpLocks/>
          </p:cNvCxnSpPr>
          <p:nvPr/>
        </p:nvCxnSpPr>
        <p:spPr>
          <a:xfrm flipH="1">
            <a:off x="0" y="6257936"/>
            <a:ext cx="12214225" cy="0"/>
          </a:xfrm>
          <a:prstGeom prst="line">
            <a:avLst/>
          </a:prstGeom>
          <a:ln w="1905">
            <a:solidFill>
              <a:srgbClr val="003C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7BEFD6A7-EAD1-FB56-F310-9AEDF1D962D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3453" y="6328883"/>
            <a:ext cx="1408441" cy="468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256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alphaModFix amt="47000"/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BD2E4DC-C8EC-E149-AFBD-58864BFDF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</a:t>
            </a:r>
            <a:br>
              <a:rPr lang="de-DE"/>
            </a:br>
            <a:r>
              <a:rPr lang="de-DE"/>
              <a:t>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7848DA-AAC3-BE99-B194-2B6C716E5B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134" y="1825625"/>
            <a:ext cx="1147233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
Third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
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A577B1-4F3C-1795-452F-617578C660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31109" y="6398422"/>
            <a:ext cx="867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003C4F"/>
                </a:solidFill>
              </a:defRPr>
            </a:lvl1pPr>
          </a:lstStyle>
          <a:p>
            <a:fld id="{79804D7A-E2F9-974B-87D2-90C3C01DE82E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EFB0FB-D88B-D9C7-D25D-6344A8B0E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003C4F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543EA7-F252-6FC0-E4A3-F32A399E54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260E5B2C-6A20-472C-3BFC-03D940456084}"/>
              </a:ext>
            </a:extLst>
          </p:cNvPr>
          <p:cNvCxnSpPr>
            <a:cxnSpLocks/>
          </p:cNvCxnSpPr>
          <p:nvPr/>
        </p:nvCxnSpPr>
        <p:spPr>
          <a:xfrm flipH="1">
            <a:off x="0" y="6257936"/>
            <a:ext cx="12214225" cy="0"/>
          </a:xfrm>
          <a:prstGeom prst="line">
            <a:avLst/>
          </a:prstGeom>
          <a:ln w="1905">
            <a:solidFill>
              <a:srgbClr val="003C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7BEFD6A7-EAD1-FB56-F310-9AEDF1D962D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3453" y="6328883"/>
            <a:ext cx="1408441" cy="4686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1C6ABE8-2355-9573-285D-99A7434573F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84000" y="63500"/>
            <a:ext cx="476250" cy="1676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10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829842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BD2E4DC-C8EC-E149-AFBD-58864BFDF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A577B1-4F3C-1795-452F-617578C660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31109" y="6398422"/>
            <a:ext cx="867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+mn-lt"/>
              </a:defRPr>
            </a:lvl1pPr>
          </a:lstStyle>
          <a:p>
            <a:fld id="{3FEBBC0D-B32B-8248-B675-FE85A8E48925}" type="datetime1">
              <a:rPr lang="de-DE" smtClean="0"/>
              <a:pPr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EFB0FB-D88B-D9C7-D25D-6344A8B0E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Footer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543EA7-F252-6FC0-E4A3-F32A399E54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260E5B2C-6A20-472C-3BFC-03D940456084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257936"/>
            <a:ext cx="12214225" cy="0"/>
          </a:xfrm>
          <a:prstGeom prst="line">
            <a:avLst/>
          </a:prstGeom>
          <a:ln w="190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7BEFD6A7-EAD1-FB56-F310-9AEDF1D962D1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13453" y="6328883"/>
            <a:ext cx="1408441" cy="468617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3FBF773-C82E-631B-F38F-CECCC32282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133" y="1825625"/>
            <a:ext cx="1147233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98787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alphaModFix amt="47000"/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BD2E4DC-C8EC-E149-AFBD-58864BFDF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33" y="365125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A577B1-4F3C-1795-452F-617578C660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31109" y="6398422"/>
            <a:ext cx="867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003C4F"/>
                </a:solidFill>
              </a:defRPr>
            </a:lvl1pPr>
          </a:lstStyle>
          <a:p>
            <a:fld id="{79804D7A-E2F9-974B-87D2-90C3C01DE82E}" type="datetime1">
              <a:rPr lang="de-DE" smtClean="0"/>
              <a:t>24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EFB0FB-D88B-D9C7-D25D-6344A8B0E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32200" y="6398422"/>
            <a:ext cx="7535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003C4F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543EA7-F252-6FC0-E4A3-F32A399E54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9618" y="6398422"/>
            <a:ext cx="1019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003C4F"/>
                </a:solidFill>
              </a:defRPr>
            </a:lvl1pPr>
          </a:lstStyle>
          <a:p>
            <a:fld id="{269FF40E-E7CC-0449-9852-6CCAFED2E5CD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260E5B2C-6A20-472C-3BFC-03D940456084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257936"/>
            <a:ext cx="12214225" cy="0"/>
          </a:xfrm>
          <a:prstGeom prst="line">
            <a:avLst/>
          </a:prstGeom>
          <a:ln w="1905">
            <a:solidFill>
              <a:srgbClr val="003C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7BEFD6A7-EAD1-FB56-F310-9AEDF1D962D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13453" y="6328883"/>
            <a:ext cx="1408441" cy="468617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CD256C0-9DF3-FEED-E223-437AB77AE9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3453" y="1825625"/>
            <a:ext cx="1150601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 Fifth level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18076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9F7BF2-AA30-197D-889F-B7CB287E1E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45633" y="1399273"/>
            <a:ext cx="6307667" cy="2387600"/>
          </a:xfrm>
        </p:spPr>
        <p:txBody>
          <a:bodyPr anchor="ctr">
            <a:noAutofit/>
          </a:bodyPr>
          <a:lstStyle/>
          <a:p>
            <a:r>
              <a:rPr lang="en-US" sz="4000" dirty="0"/>
              <a:t>AI-Powered Product Lifecycle Intellige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02BB33-DED9-B465-C08F-7762EE530E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45633" y="3862015"/>
            <a:ext cx="6307667" cy="1655762"/>
          </a:xfrm>
        </p:spPr>
        <p:txBody>
          <a:bodyPr/>
          <a:lstStyle/>
          <a:p>
            <a:r>
              <a:rPr lang="en-US"/>
              <a:t>92nd </a:t>
            </a:r>
            <a:r>
              <a:rPr lang="en-US" dirty="0"/>
              <a:t>LCA Discussion Forum AI in LCA: Innovations, Applications, and Challenges</a:t>
            </a:r>
          </a:p>
        </p:txBody>
      </p:sp>
    </p:spTree>
    <p:extLst>
      <p:ext uri="{BB962C8B-B14F-4D97-AF65-F5344CB8AC3E}">
        <p14:creationId xmlns:p14="http://schemas.microsoft.com/office/powerpoint/2010/main" val="1285351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806F9A-5854-A93E-A4A7-4890AAD4C7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le 1">
            <a:extLst>
              <a:ext uri="{FF2B5EF4-FFF2-40B4-BE49-F238E27FC236}">
                <a16:creationId xmlns:a16="http://schemas.microsoft.com/office/drawing/2014/main" id="{C1A75A38-2494-7BA8-4B5C-78A5FC15E71C}"/>
              </a:ext>
            </a:extLst>
          </p:cNvPr>
          <p:cNvSpPr txBox="1">
            <a:spLocks/>
          </p:cNvSpPr>
          <p:nvPr/>
        </p:nvSpPr>
        <p:spPr>
          <a:xfrm>
            <a:off x="664726" y="93432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3C4F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Data intelligence, the core of it all</a:t>
            </a:r>
            <a:endParaRPr kumimoji="0" lang="en-DE" sz="4400" b="1" i="0" u="none" strike="noStrike" kern="1200" cap="none" spc="0" normalizeH="0" baseline="0" noProof="0">
              <a:ln>
                <a:noFill/>
              </a:ln>
              <a:solidFill>
                <a:srgbClr val="003C4F"/>
              </a:solidFill>
              <a:effectLst/>
              <a:uLnTx/>
              <a:uFillTx/>
              <a:latin typeface="Trebuchet MS" panose="020B0603020202020204"/>
              <a:ea typeface="+mj-ea"/>
              <a:cs typeface="+mj-cs"/>
            </a:endParaRPr>
          </a:p>
        </p:txBody>
      </p:sp>
      <p:pic>
        <p:nvPicPr>
          <p:cNvPr id="1026" name="Picture 2" descr="AI ,Businessman showing concept, connection, innovation development and  artifacts too artificial intelligence ,ideas and innovation ,Machine  learning ,science and technology ,Technology and network 53847309 Stock  Photo at Vecteezy">
            <a:extLst>
              <a:ext uri="{FF2B5EF4-FFF2-40B4-BE49-F238E27FC236}">
                <a16:creationId xmlns:a16="http://schemas.microsoft.com/office/drawing/2014/main" id="{91771631-2D19-F71B-8FA6-BAFC6B8C7B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0128"/>
          <a:stretch>
            <a:fillRect/>
          </a:stretch>
        </p:blipFill>
        <p:spPr bwMode="auto">
          <a:xfrm>
            <a:off x="0" y="0"/>
            <a:ext cx="727247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73D9CBA-7CAA-DF0F-D8F7-5912B482CE43}"/>
              </a:ext>
            </a:extLst>
          </p:cNvPr>
          <p:cNvSpPr txBox="1"/>
          <p:nvPr/>
        </p:nvSpPr>
        <p:spPr>
          <a:xfrm>
            <a:off x="7613328" y="2397948"/>
            <a:ext cx="418287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</a:rPr>
              <a:t>Decision-grade data: </a:t>
            </a:r>
          </a:p>
          <a:p>
            <a:r>
              <a:rPr lang="en-GB" sz="3200" b="1" dirty="0">
                <a:solidFill>
                  <a:schemeClr val="bg1"/>
                </a:solidFill>
              </a:rPr>
              <a:t>What it takes to operationalize LCA at scale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20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F034D-9E12-8102-8F34-B0B222718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le 1">
            <a:extLst>
              <a:ext uri="{FF2B5EF4-FFF2-40B4-BE49-F238E27FC236}">
                <a16:creationId xmlns:a16="http://schemas.microsoft.com/office/drawing/2014/main" id="{AA058611-2960-586A-3795-410B729D1FB3}"/>
              </a:ext>
            </a:extLst>
          </p:cNvPr>
          <p:cNvSpPr txBox="1">
            <a:spLocks/>
          </p:cNvSpPr>
          <p:nvPr/>
        </p:nvSpPr>
        <p:spPr>
          <a:xfrm>
            <a:off x="664726" y="93432"/>
            <a:ext cx="114723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3C4F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Data intelligence, the core of it all</a:t>
            </a:r>
            <a:endParaRPr kumimoji="0" lang="en-DE" sz="4400" b="1" i="0" u="none" strike="noStrike" kern="1200" cap="none" spc="0" normalizeH="0" baseline="0" noProof="0">
              <a:ln>
                <a:noFill/>
              </a:ln>
              <a:solidFill>
                <a:srgbClr val="003C4F"/>
              </a:solidFill>
              <a:effectLst/>
              <a:uLnTx/>
              <a:uFillTx/>
              <a:latin typeface="Trebuchet MS" panose="020B0603020202020204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3E561F-5BFB-76C1-5F4E-25981B9569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0585" y="878542"/>
            <a:ext cx="10391415" cy="537707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5407BD4-2718-C1B1-B151-1D25105518F6}"/>
              </a:ext>
            </a:extLst>
          </p:cNvPr>
          <p:cNvSpPr txBox="1"/>
          <p:nvPr/>
        </p:nvSpPr>
        <p:spPr>
          <a:xfrm>
            <a:off x="335338" y="2226425"/>
            <a:ext cx="486419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</a:rPr>
              <a:t>How to build trust in technology? </a:t>
            </a:r>
          </a:p>
          <a:p>
            <a:endParaRPr lang="en-GB" sz="3200" b="1" dirty="0">
              <a:solidFill>
                <a:schemeClr val="bg1"/>
              </a:solidFill>
            </a:endParaRPr>
          </a:p>
          <a:p>
            <a:r>
              <a:rPr lang="en-GB" sz="3200" b="1" dirty="0">
                <a:solidFill>
                  <a:schemeClr val="bg1"/>
                </a:solidFill>
              </a:rPr>
              <a:t>Let’s understand it!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8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4B899-E58B-FC8A-E6B5-996E4DA5C7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3AB7236-6F78-6C59-6EF0-84DF80F760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2123" y="596605"/>
            <a:ext cx="9587753" cy="59657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7BF71B4-67F0-BC12-34C3-309B2DA819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1045" y="2062232"/>
            <a:ext cx="7772400" cy="218158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1266E9FB-5607-CCD2-9D7F-E12A68BEA5A0}"/>
              </a:ext>
            </a:extLst>
          </p:cNvPr>
          <p:cNvSpPr/>
          <p:nvPr/>
        </p:nvSpPr>
        <p:spPr>
          <a:xfrm>
            <a:off x="1055096" y="3603812"/>
            <a:ext cx="1458662" cy="1470598"/>
          </a:xfrm>
          <a:prstGeom prst="ellipse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CE164D7-4D87-5D9C-1FF9-D0BFD8A03E3E}"/>
              </a:ext>
            </a:extLst>
          </p:cNvPr>
          <p:cNvSpPr/>
          <p:nvPr/>
        </p:nvSpPr>
        <p:spPr>
          <a:xfrm>
            <a:off x="3347263" y="3277241"/>
            <a:ext cx="1458662" cy="1470598"/>
          </a:xfrm>
          <a:prstGeom prst="ellipse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ecision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A690657-9F90-3A51-4CCC-F3457775F89A}"/>
              </a:ext>
            </a:extLst>
          </p:cNvPr>
          <p:cNvSpPr/>
          <p:nvPr/>
        </p:nvSpPr>
        <p:spPr>
          <a:xfrm>
            <a:off x="5412880" y="2868513"/>
            <a:ext cx="1458662" cy="1470598"/>
          </a:xfrm>
          <a:prstGeom prst="ellipse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F10BA6E-62E4-EB15-38B9-5727201115F8}"/>
              </a:ext>
            </a:extLst>
          </p:cNvPr>
          <p:cNvSpPr/>
          <p:nvPr/>
        </p:nvSpPr>
        <p:spPr>
          <a:xfrm>
            <a:off x="7478497" y="2133214"/>
            <a:ext cx="1458662" cy="1470598"/>
          </a:xfrm>
          <a:prstGeom prst="ellipse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275FE4F-B038-27ED-8EE2-0045869B640F}"/>
              </a:ext>
            </a:extLst>
          </p:cNvPr>
          <p:cNvSpPr/>
          <p:nvPr/>
        </p:nvSpPr>
        <p:spPr>
          <a:xfrm>
            <a:off x="9544114" y="1286070"/>
            <a:ext cx="1458662" cy="1470598"/>
          </a:xfrm>
          <a:prstGeom prst="ellipse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0D3089-49E1-5B69-43CD-7BF4AE925CE5}"/>
              </a:ext>
            </a:extLst>
          </p:cNvPr>
          <p:cNvSpPr txBox="1"/>
          <p:nvPr/>
        </p:nvSpPr>
        <p:spPr>
          <a:xfrm>
            <a:off x="5406769" y="3403672"/>
            <a:ext cx="14552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Transpar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30BDA5-A12A-1F78-3828-207C91835D68}"/>
              </a:ext>
            </a:extLst>
          </p:cNvPr>
          <p:cNvSpPr txBox="1"/>
          <p:nvPr/>
        </p:nvSpPr>
        <p:spPr>
          <a:xfrm>
            <a:off x="7478498" y="2699236"/>
            <a:ext cx="14586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Traceab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BC624BD-A16E-7506-CE29-9723D7A1E3D0}"/>
              </a:ext>
            </a:extLst>
          </p:cNvPr>
          <p:cNvSpPr txBox="1"/>
          <p:nvPr/>
        </p:nvSpPr>
        <p:spPr>
          <a:xfrm>
            <a:off x="9544115" y="1852092"/>
            <a:ext cx="14586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Documente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13B47B-6ABD-7261-F2D5-E72089A4F973}"/>
              </a:ext>
            </a:extLst>
          </p:cNvPr>
          <p:cNvSpPr txBox="1"/>
          <p:nvPr/>
        </p:nvSpPr>
        <p:spPr>
          <a:xfrm>
            <a:off x="1042383" y="4151280"/>
            <a:ext cx="14586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Confidence</a:t>
            </a:r>
          </a:p>
        </p:txBody>
      </p:sp>
    </p:spTree>
    <p:extLst>
      <p:ext uri="{BB962C8B-B14F-4D97-AF65-F5344CB8AC3E}">
        <p14:creationId xmlns:p14="http://schemas.microsoft.com/office/powerpoint/2010/main" val="406923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DC53C7-7807-5CFD-61B0-41A46AEDBB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77671442-3A65-00E2-BB85-7B85EE253C33}"/>
              </a:ext>
            </a:extLst>
          </p:cNvPr>
          <p:cNvSpPr txBox="1"/>
          <p:nvPr/>
        </p:nvSpPr>
        <p:spPr>
          <a:xfrm>
            <a:off x="335338" y="2226425"/>
            <a:ext cx="486419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>
                <a:solidFill>
                  <a:schemeClr val="bg1"/>
                </a:solidFill>
              </a:rPr>
              <a:t>Why are we </a:t>
            </a:r>
          </a:p>
          <a:p>
            <a:r>
              <a:rPr lang="en-GB" sz="3200" b="1">
                <a:solidFill>
                  <a:schemeClr val="bg1"/>
                </a:solidFill>
              </a:rPr>
              <a:t>stopping </a:t>
            </a:r>
          </a:p>
          <a:p>
            <a:r>
              <a:rPr lang="en-GB" sz="3200" b="1">
                <a:solidFill>
                  <a:schemeClr val="bg1"/>
                </a:solidFill>
              </a:rPr>
              <a:t>progress?</a:t>
            </a:r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8200" name="Picture 8">
            <a:extLst>
              <a:ext uri="{FF2B5EF4-FFF2-40B4-BE49-F238E27FC236}">
                <a16:creationId xmlns:a16="http://schemas.microsoft.com/office/drawing/2014/main" id="{E6C1C14F-4B1B-2BBE-B0D6-5EACDFF3A6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4561" y="0"/>
            <a:ext cx="10287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817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F453373-0C77-1898-09E4-CC035CFA1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kersite</a:t>
            </a:r>
          </a:p>
        </p:txBody>
      </p:sp>
    </p:spTree>
    <p:extLst>
      <p:ext uri="{BB962C8B-B14F-4D97-AF65-F5344CB8AC3E}">
        <p14:creationId xmlns:p14="http://schemas.microsoft.com/office/powerpoint/2010/main" val="24346726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5yN5EZEBM.3pxdEQo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5yN5EZEBM.3pxdEQo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5yN5EZEBM.3pxdEQo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5yN5EZEBM.3pxdEQo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5yN5EZEBM.3pxdEQo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A7qXLd1L.Yrz3GMS.X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5yN5EZEBM.3pxdEQo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5yN5EZEBM.3pxdEQo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5yN5EZEBM.3pxdEQo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5yN5EZEBM.3pxdEQo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kersite_Master withe">
  <a:themeElements>
    <a:clrScheme name="Custom 1">
      <a:dk1>
        <a:srgbClr val="003C4F"/>
      </a:dk1>
      <a:lt1>
        <a:srgbClr val="FFFFFF"/>
      </a:lt1>
      <a:dk2>
        <a:srgbClr val="00747A"/>
      </a:dk2>
      <a:lt2>
        <a:srgbClr val="FFFFFF"/>
      </a:lt2>
      <a:accent1>
        <a:srgbClr val="FF3342"/>
      </a:accent1>
      <a:accent2>
        <a:srgbClr val="DCF600"/>
      </a:accent2>
      <a:accent3>
        <a:srgbClr val="01C9B3"/>
      </a:accent3>
      <a:accent4>
        <a:srgbClr val="FFA76B"/>
      </a:accent4>
      <a:accent5>
        <a:srgbClr val="002A42"/>
      </a:accent5>
      <a:accent6>
        <a:srgbClr val="003C4F"/>
      </a:accent6>
      <a:hlink>
        <a:srgbClr val="003C4F"/>
      </a:hlink>
      <a:folHlink>
        <a:srgbClr val="00747A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Makersite_NEW">
      <a:dk1>
        <a:srgbClr val="000000"/>
      </a:dk1>
      <a:lt1>
        <a:srgbClr val="FFFFFF"/>
      </a:lt1>
      <a:dk2>
        <a:srgbClr val="152C4F"/>
      </a:dk2>
      <a:lt2>
        <a:srgbClr val="EFEFEF"/>
      </a:lt2>
      <a:accent1>
        <a:srgbClr val="099EE1"/>
      </a:accent1>
      <a:accent2>
        <a:srgbClr val="077EB3"/>
      </a:accent2>
      <a:accent3>
        <a:srgbClr val="FF4F93"/>
      </a:accent3>
      <a:accent4>
        <a:srgbClr val="CCCCCC"/>
      </a:accent4>
      <a:accent5>
        <a:srgbClr val="CED648"/>
      </a:accent5>
      <a:accent6>
        <a:srgbClr val="445469"/>
      </a:accent6>
      <a:hlink>
        <a:srgbClr val="6AC4EC"/>
      </a:hlink>
      <a:folHlink>
        <a:srgbClr val="CCCCCC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akersite Master">
  <a:themeElements>
    <a:clrScheme name="Makersite">
      <a:dk1>
        <a:srgbClr val="00747A"/>
      </a:dk1>
      <a:lt1>
        <a:srgbClr val="FFFFFF"/>
      </a:lt1>
      <a:dk2>
        <a:srgbClr val="003C4F"/>
      </a:dk2>
      <a:lt2>
        <a:srgbClr val="FFFFFF"/>
      </a:lt2>
      <a:accent1>
        <a:srgbClr val="FF3342"/>
      </a:accent1>
      <a:accent2>
        <a:srgbClr val="DCF600"/>
      </a:accent2>
      <a:accent3>
        <a:srgbClr val="01C9B3"/>
      </a:accent3>
      <a:accent4>
        <a:srgbClr val="FFA76B"/>
      </a:accent4>
      <a:accent5>
        <a:srgbClr val="002A42"/>
      </a:accent5>
      <a:accent6>
        <a:srgbClr val="003C4F"/>
      </a:accent6>
      <a:hlink>
        <a:srgbClr val="003C4F"/>
      </a:hlink>
      <a:folHlink>
        <a:srgbClr val="00747A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akersite_Master withe">
  <a:themeElements>
    <a:clrScheme name="Custom 1">
      <a:dk1>
        <a:srgbClr val="003C4F"/>
      </a:dk1>
      <a:lt1>
        <a:srgbClr val="FFFFFF"/>
      </a:lt1>
      <a:dk2>
        <a:srgbClr val="00747A"/>
      </a:dk2>
      <a:lt2>
        <a:srgbClr val="FFFFFF"/>
      </a:lt2>
      <a:accent1>
        <a:srgbClr val="FF3342"/>
      </a:accent1>
      <a:accent2>
        <a:srgbClr val="DCF600"/>
      </a:accent2>
      <a:accent3>
        <a:srgbClr val="01C9B3"/>
      </a:accent3>
      <a:accent4>
        <a:srgbClr val="FFA76B"/>
      </a:accent4>
      <a:accent5>
        <a:srgbClr val="002A42"/>
      </a:accent5>
      <a:accent6>
        <a:srgbClr val="003C4F"/>
      </a:accent6>
      <a:hlink>
        <a:srgbClr val="003C4F"/>
      </a:hlink>
      <a:folHlink>
        <a:srgbClr val="00747A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Makersite_Master withe">
  <a:themeElements>
    <a:clrScheme name="Custom 1">
      <a:dk1>
        <a:srgbClr val="003C4F"/>
      </a:dk1>
      <a:lt1>
        <a:srgbClr val="FFFFFF"/>
      </a:lt1>
      <a:dk2>
        <a:srgbClr val="00747A"/>
      </a:dk2>
      <a:lt2>
        <a:srgbClr val="FFFFFF"/>
      </a:lt2>
      <a:accent1>
        <a:srgbClr val="FF3342"/>
      </a:accent1>
      <a:accent2>
        <a:srgbClr val="DCF600"/>
      </a:accent2>
      <a:accent3>
        <a:srgbClr val="01C9B3"/>
      </a:accent3>
      <a:accent4>
        <a:srgbClr val="FFA76B"/>
      </a:accent4>
      <a:accent5>
        <a:srgbClr val="002A42"/>
      </a:accent5>
      <a:accent6>
        <a:srgbClr val="003C4F"/>
      </a:accent6>
      <a:hlink>
        <a:srgbClr val="003C4F"/>
      </a:hlink>
      <a:folHlink>
        <a:srgbClr val="00747A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0101_Makersite_Customer Handout (new).pptx" id="{1C95DD1C-0AA7-4352-BC81-50F17DCB1DA7}" vid="{CF80520C-B0F8-4A48-BF35-69F6EFA0623E}"/>
    </a:ext>
  </a:extLst>
</a:theme>
</file>

<file path=ppt/theme/theme6.xml><?xml version="1.0" encoding="utf-8"?>
<a:theme xmlns:a="http://schemas.openxmlformats.org/drawingml/2006/main" name="2_Makersite Master">
  <a:themeElements>
    <a:clrScheme name="Makersite">
      <a:dk1>
        <a:srgbClr val="00747A"/>
      </a:dk1>
      <a:lt1>
        <a:srgbClr val="FFFFFF"/>
      </a:lt1>
      <a:dk2>
        <a:srgbClr val="003C4F"/>
      </a:dk2>
      <a:lt2>
        <a:srgbClr val="FFFFFF"/>
      </a:lt2>
      <a:accent1>
        <a:srgbClr val="FF3342"/>
      </a:accent1>
      <a:accent2>
        <a:srgbClr val="DCF600"/>
      </a:accent2>
      <a:accent3>
        <a:srgbClr val="01C9B3"/>
      </a:accent3>
      <a:accent4>
        <a:srgbClr val="FFA76B"/>
      </a:accent4>
      <a:accent5>
        <a:srgbClr val="002A42"/>
      </a:accent5>
      <a:accent6>
        <a:srgbClr val="003C4F"/>
      </a:accent6>
      <a:hlink>
        <a:srgbClr val="003C4F"/>
      </a:hlink>
      <a:folHlink>
        <a:srgbClr val="00747A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Makersite_Master withe">
  <a:themeElements>
    <a:clrScheme name="Makersite 2023">
      <a:dk1>
        <a:srgbClr val="00747A"/>
      </a:dk1>
      <a:lt1>
        <a:srgbClr val="FFFFFF"/>
      </a:lt1>
      <a:dk2>
        <a:srgbClr val="003C4F"/>
      </a:dk2>
      <a:lt2>
        <a:srgbClr val="FFFFFF"/>
      </a:lt2>
      <a:accent1>
        <a:srgbClr val="FE3341"/>
      </a:accent1>
      <a:accent2>
        <a:srgbClr val="DCF500"/>
      </a:accent2>
      <a:accent3>
        <a:srgbClr val="05C8B3"/>
      </a:accent3>
      <a:accent4>
        <a:srgbClr val="FFA76B"/>
      </a:accent4>
      <a:accent5>
        <a:srgbClr val="002A42"/>
      </a:accent5>
      <a:accent6>
        <a:srgbClr val="003C4F"/>
      </a:accent6>
      <a:hlink>
        <a:srgbClr val="003C4F"/>
      </a:hlink>
      <a:folHlink>
        <a:srgbClr val="00747A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270CECFE9C04D409E87155443D43E9F" ma:contentTypeVersion="18" ma:contentTypeDescription="Ein neues Dokument erstellen." ma:contentTypeScope="" ma:versionID="f9de7b9cae06ff9e6ac41a7ff00ce190">
  <xsd:schema xmlns:xsd="http://www.w3.org/2001/XMLSchema" xmlns:xs="http://www.w3.org/2001/XMLSchema" xmlns:p="http://schemas.microsoft.com/office/2006/metadata/properties" xmlns:ns2="ebccde17-cd0e-4d10-95ac-8e2893413d10" xmlns:ns3="eb713332-17f0-4033-9dc9-bfb168c6706c" targetNamespace="http://schemas.microsoft.com/office/2006/metadata/properties" ma:root="true" ma:fieldsID="af4de2a9d53a557b1187ad3829936870" ns2:_="" ns3:_="">
    <xsd:import namespace="ebccde17-cd0e-4d10-95ac-8e2893413d10"/>
    <xsd:import namespace="eb713332-17f0-4033-9dc9-bfb168c670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ccde17-cd0e-4d10-95ac-8e2893413d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b03e05e9-82ba-48ae-a09c-af64a89fcb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713332-17f0-4033-9dc9-bfb168c6706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ab152eb1-5539-4679-84f9-5a7f8528c008}" ma:internalName="TaxCatchAll" ma:showField="CatchAllData" ma:web="eb713332-17f0-4033-9dc9-bfb168c670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bccde17-cd0e-4d10-95ac-8e2893413d10">
      <Terms xmlns="http://schemas.microsoft.com/office/infopath/2007/PartnerControls"/>
    </lcf76f155ced4ddcb4097134ff3c332f>
    <TaxCatchAll xmlns="eb713332-17f0-4033-9dc9-bfb168c6706c" xsi:nil="true"/>
    <SharedWithUsers xmlns="eb713332-17f0-4033-9dc9-bfb168c6706c">
      <UserInfo>
        <DisplayName>Grzegorz Kossobudzki</DisplayName>
        <AccountId>203</AccountId>
        <AccountType/>
      </UserInfo>
      <UserInfo>
        <DisplayName>Vaqais Hussain</DisplayName>
        <AccountId>65</AccountId>
        <AccountType/>
      </UserInfo>
      <UserInfo>
        <DisplayName>Heinz-Werner Hambrock</DisplayName>
        <AccountId>170</AccountId>
        <AccountType/>
      </UserInfo>
    </SharedWithUsers>
    <MediaLengthInSeconds xmlns="ebccde17-cd0e-4d10-95ac-8e2893413d10" xsi:nil="true"/>
  </documentManagement>
</p:properties>
</file>

<file path=customXml/itemProps1.xml><?xml version="1.0" encoding="utf-8"?>
<ds:datastoreItem xmlns:ds="http://schemas.openxmlformats.org/officeDocument/2006/customXml" ds:itemID="{F83131D7-46A0-479B-8EF4-CFF6E98594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75CECB-854F-43F5-B38C-1E73AED8FFD8}">
  <ds:schemaRefs>
    <ds:schemaRef ds:uri="eb713332-17f0-4033-9dc9-bfb168c6706c"/>
    <ds:schemaRef ds:uri="ebccde17-cd0e-4d10-95ac-8e2893413d1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A8318AA-637A-462C-A8FE-2FCC41AF73B8}">
  <ds:schemaRefs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b713332-17f0-4033-9dc9-bfb168c6706c"/>
    <ds:schemaRef ds:uri="ebccde17-cd0e-4d10-95ac-8e2893413d10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10</TotalTime>
  <Words>108</Words>
  <Application>Microsoft Office PowerPoint</Application>
  <PresentationFormat>Widescreen</PresentationFormat>
  <Paragraphs>24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2" baseType="lpstr">
      <vt:lpstr>Arial</vt:lpstr>
      <vt:lpstr>AvenirNext LT Pro Bold</vt:lpstr>
      <vt:lpstr>AvenirNext LT Pro Regular</vt:lpstr>
      <vt:lpstr>Calibri</vt:lpstr>
      <vt:lpstr>Courier New</vt:lpstr>
      <vt:lpstr>Trebuchet MS</vt:lpstr>
      <vt:lpstr>Verdana</vt:lpstr>
      <vt:lpstr>Wingdings</vt:lpstr>
      <vt:lpstr>Makersite_Master withe</vt:lpstr>
      <vt:lpstr>2_Office Theme</vt:lpstr>
      <vt:lpstr>1_Makersite Master</vt:lpstr>
      <vt:lpstr>1_Makersite_Master withe</vt:lpstr>
      <vt:lpstr>2_Makersite_Master withe</vt:lpstr>
      <vt:lpstr>2_Makersite Master</vt:lpstr>
      <vt:lpstr>3_Makersite_Master withe</vt:lpstr>
      <vt:lpstr>think-cell Slide</vt:lpstr>
      <vt:lpstr>AI-Powered Product Lifecycle Intelligence</vt:lpstr>
      <vt:lpstr>PowerPoint Presentation</vt:lpstr>
      <vt:lpstr>PowerPoint Presentation</vt:lpstr>
      <vt:lpstr>PowerPoint Presentation</vt:lpstr>
      <vt:lpstr>PowerPoint Presentation</vt:lpstr>
      <vt:lpstr>Makersi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e tomorrow, today</dc:title>
  <dc:creator>Verena Lerke</dc:creator>
  <cp:lastModifiedBy>Fabian Hassel</cp:lastModifiedBy>
  <cp:revision>6</cp:revision>
  <dcterms:created xsi:type="dcterms:W3CDTF">2022-12-14T08:21:32Z</dcterms:created>
  <dcterms:modified xsi:type="dcterms:W3CDTF">2026-02-24T10:3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70CECFE9C04D409E87155443D43E9F</vt:lpwstr>
  </property>
  <property fmtid="{D5CDD505-2E9C-101B-9397-08002B2CF9AE}" pid="3" name="Order">
    <vt:r8>9300</vt:r8>
  </property>
  <property fmtid="{D5CDD505-2E9C-101B-9397-08002B2CF9AE}" pid="4" name="TriggerFlowInfo">
    <vt:lpwstr/>
  </property>
  <property fmtid="{D5CDD505-2E9C-101B-9397-08002B2CF9AE}" pid="5" name="ComplianceAssetId">
    <vt:lpwstr/>
  </property>
  <property fmtid="{D5CDD505-2E9C-101B-9397-08002B2CF9AE}" pid="6" name="_activity">
    <vt:lpwstr>{"FileActivityType":"9","FileActivityTimeStamp":"2022-12-20T14:40:07.170Z","FileActivityUsersOnPage":[{"DisplayName":"Vaqais Hussain","Id":"vaqais.hussain@makersite.de"}],"FileActivityNavigationId":null}</vt:lpwstr>
  </property>
  <property fmtid="{D5CDD505-2E9C-101B-9397-08002B2CF9AE}" pid="7" name="_ExtendedDescription">
    <vt:lpwstr/>
  </property>
  <property fmtid="{D5CDD505-2E9C-101B-9397-08002B2CF9AE}" pid="8" name="MediaServiceImageTags">
    <vt:lpwstr/>
  </property>
  <property fmtid="{D5CDD505-2E9C-101B-9397-08002B2CF9AE}" pid="9" name="MSIP_Label_ca30f70b-5cc2-4b14-b7a6-a56ecc9abeb8_Enabled">
    <vt:lpwstr>true</vt:lpwstr>
  </property>
  <property fmtid="{D5CDD505-2E9C-101B-9397-08002B2CF9AE}" pid="10" name="MSIP_Label_ca30f70b-5cc2-4b14-b7a6-a56ecc9abeb8_SetDate">
    <vt:lpwstr>2024-02-08T09:30:43Z</vt:lpwstr>
  </property>
  <property fmtid="{D5CDD505-2E9C-101B-9397-08002B2CF9AE}" pid="11" name="MSIP_Label_ca30f70b-5cc2-4b14-b7a6-a56ecc9abeb8_Method">
    <vt:lpwstr>Privileged</vt:lpwstr>
  </property>
  <property fmtid="{D5CDD505-2E9C-101B-9397-08002B2CF9AE}" pid="12" name="MSIP_Label_ca30f70b-5cc2-4b14-b7a6-a56ecc9abeb8_Name">
    <vt:lpwstr>Confidential</vt:lpwstr>
  </property>
  <property fmtid="{D5CDD505-2E9C-101B-9397-08002B2CF9AE}" pid="13" name="MSIP_Label_ca30f70b-5cc2-4b14-b7a6-a56ecc9abeb8_SiteId">
    <vt:lpwstr>ed974340-5102-41e2-96ac-36f916de2a5b</vt:lpwstr>
  </property>
  <property fmtid="{D5CDD505-2E9C-101B-9397-08002B2CF9AE}" pid="14" name="MSIP_Label_ca30f70b-5cc2-4b14-b7a6-a56ecc9abeb8_ActionId">
    <vt:lpwstr>ee81d7df-8436-4f65-a10d-ab4bae1d6321</vt:lpwstr>
  </property>
  <property fmtid="{D5CDD505-2E9C-101B-9397-08002B2CF9AE}" pid="15" name="MSIP_Label_ca30f70b-5cc2-4b14-b7a6-a56ecc9abeb8_ContentBits">
    <vt:lpwstr>1</vt:lpwstr>
  </property>
  <property fmtid="{D5CDD505-2E9C-101B-9397-08002B2CF9AE}" pid="16" name="ClassificationContentMarkingHeaderLocations">
    <vt:lpwstr>Makersite Master:8\Makersite_Master withe:8\2_Office Theme:7\1_Makersite Master:5</vt:lpwstr>
  </property>
  <property fmtid="{D5CDD505-2E9C-101B-9397-08002B2CF9AE}" pid="17" name="ClassificationContentMarkingHeaderText">
    <vt:lpwstr>Confidential</vt:lpwstr>
  </property>
  <property fmtid="{D5CDD505-2E9C-101B-9397-08002B2CF9AE}" pid="18" name="MSIP_Label_f11ef8a2-67f3-40eb-a558-84e21b4df1df_Name">
    <vt:lpwstr>General</vt:lpwstr>
  </property>
  <property fmtid="{D5CDD505-2E9C-101B-9397-08002B2CF9AE}" pid="19" name="MSIP_Label_f11ef8a2-67f3-40eb-a558-84e21b4df1df_ActionId">
    <vt:lpwstr>3110e60b-149d-4b3a-a2ff-b7cf38c0beba</vt:lpwstr>
  </property>
  <property fmtid="{D5CDD505-2E9C-101B-9397-08002B2CF9AE}" pid="20" name="MSIP_Label_f11ef8a2-67f3-40eb-a558-84e21b4df1df_Enabled">
    <vt:lpwstr>true</vt:lpwstr>
  </property>
  <property fmtid="{D5CDD505-2E9C-101B-9397-08002B2CF9AE}" pid="21" name="MSIP_Label_f11ef8a2-67f3-40eb-a558-84e21b4df1df_Method">
    <vt:lpwstr>Standard</vt:lpwstr>
  </property>
  <property fmtid="{D5CDD505-2E9C-101B-9397-08002B2CF9AE}" pid="22" name="MSIP_Label_f11ef8a2-67f3-40eb-a558-84e21b4df1df_SiteId">
    <vt:lpwstr>ed974340-5102-41e2-96ac-36f916de2a5b</vt:lpwstr>
  </property>
  <property fmtid="{D5CDD505-2E9C-101B-9397-08002B2CF9AE}" pid="23" name="MSIP_Label_f11ef8a2-67f3-40eb-a558-84e21b4df1df_SetDate">
    <vt:lpwstr>2024-01-29T16:33:28Z</vt:lpwstr>
  </property>
  <property fmtid="{D5CDD505-2E9C-101B-9397-08002B2CF9AE}" pid="24" name="MSIP_Label_f11ef8a2-67f3-40eb-a558-84e21b4df1df_ContentBits">
    <vt:lpwstr>1</vt:lpwstr>
  </property>
</Properties>
</file>